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comments/comment2.xml" ContentType="application/vnd.openxmlformats-officedocument.presentationml.comment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comment3.xml" ContentType="application/vnd.openxmlformats-officedocument.presentationml.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19"/>
  </p:notesMasterIdLst>
  <p:sldIdLst>
    <p:sldId id="291" r:id="rId2"/>
    <p:sldId id="297" r:id="rId3"/>
    <p:sldId id="324" r:id="rId4"/>
    <p:sldId id="328" r:id="rId5"/>
    <p:sldId id="345" r:id="rId6"/>
    <p:sldId id="348" r:id="rId7"/>
    <p:sldId id="349" r:id="rId8"/>
    <p:sldId id="363" r:id="rId9"/>
    <p:sldId id="368" r:id="rId10"/>
    <p:sldId id="372" r:id="rId11"/>
    <p:sldId id="374" r:id="rId12"/>
    <p:sldId id="377" r:id="rId13"/>
    <p:sldId id="364" r:id="rId14"/>
    <p:sldId id="306" r:id="rId15"/>
    <p:sldId id="323" r:id="rId16"/>
    <p:sldId id="378" r:id="rId17"/>
    <p:sldId id="366" r:id="rId18"/>
  </p:sldIdLst>
  <p:sldSz cx="9144000" cy="5143500" type="screen16x9"/>
  <p:notesSz cx="6858000" cy="9144000"/>
  <p:custDataLst>
    <p:tags r:id="rId2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388" userDrawn="1">
          <p15:clr>
            <a:srgbClr val="A4A3A4"/>
          </p15:clr>
        </p15:guide>
        <p15:guide id="2" pos="2544" userDrawn="1">
          <p15:clr>
            <a:srgbClr val="A4A3A4"/>
          </p15:clr>
        </p15:guide>
        <p15:guide id="3" pos="216" userDrawn="1">
          <p15:clr>
            <a:srgbClr val="A4A3A4"/>
          </p15:clr>
        </p15:guide>
        <p15:guide id="4" orient="horz" pos="20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vin Batista" initials="KB" lastIdx="12" clrIdx="0">
    <p:extLst/>
  </p:cmAuthor>
  <p:cmAuthor id="2" name="Jacob Harry Podell" initials="JHP" lastIdx="1" clrIdx="1">
    <p:extLst/>
  </p:cmAuthor>
  <p:cmAuthor id="3" name="Jacob Harry Podell" initials="JHP [2]" lastIdx="1" clrIdx="2">
    <p:extLst/>
  </p:cmAuthor>
  <p:cmAuthor id="4" name="Jacob Harry Podell" initials="JHP [3]" lastIdx="1" clrIdx="3">
    <p:extLst/>
  </p:cmAuthor>
  <p:cmAuthor id="5" name="Jacob Harry Podell" initials="JHP [4]" lastIdx="1" clrIdx="4">
    <p:extLst/>
  </p:cmAuthor>
  <p:cmAuthor id="6" name="Jacob Harry Podell" initials="JHP [5]" lastIdx="1" clrIdx="5">
    <p:extLst/>
  </p:cmAuthor>
  <p:cmAuthor id="7" name="Jacob Harry Podell" initials="JHP [6]" lastIdx="1" clrIdx="6">
    <p:extLst/>
  </p:cmAuthor>
  <p:cmAuthor id="8" name="Jacob Harry Podell" initials="JHP [7]" lastIdx="1" clrIdx="7">
    <p:extLst/>
  </p:cmAuthor>
  <p:cmAuthor id="9" name="Jacob Harry Podell" initials="JHP [8]" lastIdx="1" clrIdx="8">
    <p:extLst/>
  </p:cmAuthor>
  <p:cmAuthor id="10" name="Jacob Harry Podell" initials="JHP [9]" lastIdx="1" clrIdx="9">
    <p:extLst/>
  </p:cmAuthor>
  <p:cmAuthor id="11" name="Jacob Harry Podell" initials="JHP [10]" lastIdx="1" clrIdx="10">
    <p:extLst/>
  </p:cmAuthor>
  <p:cmAuthor id="12" name="Jacob Harry Podell" initials="JHP [11]" lastIdx="1" clrIdx="11">
    <p:extLst/>
  </p:cmAuthor>
  <p:cmAuthor id="13" name="Jacob Harry Podell" initials="JHP [12]" lastIdx="1" clrIdx="12">
    <p:extLst/>
  </p:cmAuthor>
  <p:cmAuthor id="14" name="Jacob Harry Podell" initials="JHP [13]" lastIdx="1" clrIdx="13">
    <p:extLst/>
  </p:cmAuthor>
  <p:cmAuthor id="15" name="Jacob Harry Podell" initials="JHP [14]" lastIdx="1" clrIdx="14">
    <p:extLst/>
  </p:cmAuthor>
  <p:cmAuthor id="16" name="Jacob Harry Podell" initials="JHP [15]" lastIdx="1"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00B4D2"/>
    <a:srgbClr val="B5B5B6"/>
    <a:srgbClr val="252525"/>
    <a:srgbClr val="444445"/>
    <a:srgbClr val="1AA6C9"/>
    <a:srgbClr val="A5A5A6"/>
    <a:srgbClr val="10B5D4"/>
    <a:srgbClr val="B4B4B5"/>
    <a:srgbClr val="70E4F9"/>
    <a:srgbClr val="0081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410BEE1-E9ED-4D79-A2C4-AF8B92BEA772}">
  <a:tblStyle styleId="{2410BEE1-E9ED-4D79-A2C4-AF8B92BEA77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9" autoAdjust="0"/>
    <p:restoredTop sz="97026" autoAdjust="0"/>
  </p:normalViewPr>
  <p:slideViewPr>
    <p:cSldViewPr snapToGrid="0" snapToObjects="1">
      <p:cViewPr>
        <p:scale>
          <a:sx n="84" d="100"/>
          <a:sy n="84" d="100"/>
        </p:scale>
        <p:origin x="608" y="1064"/>
      </p:cViewPr>
      <p:guideLst>
        <p:guide orient="horz" pos="2388"/>
        <p:guide pos="2544"/>
        <p:guide pos="216"/>
        <p:guide orient="horz" pos="204"/>
      </p:guideLst>
    </p:cSldViewPr>
  </p:slideViewPr>
  <p:notesTextViewPr>
    <p:cViewPr>
      <p:scale>
        <a:sx n="20" d="100"/>
        <a:sy n="20"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ags" Target="tags/tag1.xml"/><Relationship Id="rId21" Type="http://schemas.openxmlformats.org/officeDocument/2006/relationships/commentAuthors" Target="commentAuthors.xml"/><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86C332-A63F-1442-9389-8468A22AFD07}" type="doc">
      <dgm:prSet loTypeId="urn:microsoft.com/office/officeart/2005/8/layout/venn2" loCatId="" qsTypeId="urn:microsoft.com/office/officeart/2005/8/quickstyle/simple2" qsCatId="simple" csTypeId="urn:microsoft.com/office/officeart/2005/8/colors/accent1_2" csCatId="accent1" phldr="1"/>
      <dgm:spPr/>
      <dgm:t>
        <a:bodyPr/>
        <a:lstStyle/>
        <a:p>
          <a:endParaRPr lang="en-US"/>
        </a:p>
      </dgm:t>
    </dgm:pt>
    <dgm:pt modelId="{A2576D40-7D1D-A643-82CE-1332C1F1DD0D}">
      <dgm:prSet phldrT="[Text]" custT="1"/>
      <dgm:spPr>
        <a:solidFill>
          <a:srgbClr val="444445">
            <a:alpha val="70000"/>
          </a:srgbClr>
        </a:solidFill>
        <a:ln>
          <a:noFill/>
        </a:ln>
        <a:effectLst/>
      </dgm:spPr>
      <dgm:t>
        <a:bodyPr/>
        <a:lstStyle/>
        <a:p>
          <a:pPr algn="ctr"/>
          <a:r>
            <a:rPr lang="en-US" sz="2400" b="1" dirty="0" smtClean="0">
              <a:latin typeface="Glacial Indifference" charset="0"/>
              <a:ea typeface="Glacial Indifference" charset="0"/>
              <a:cs typeface="Glacial Indifference" charset="0"/>
            </a:rPr>
            <a:t> 200M</a:t>
          </a:r>
          <a:endParaRPr lang="en-US" sz="2400" b="1" dirty="0">
            <a:latin typeface="Glacial Indifference" charset="0"/>
            <a:ea typeface="Glacial Indifference" charset="0"/>
            <a:cs typeface="Glacial Indifference" charset="0"/>
          </a:endParaRPr>
        </a:p>
      </dgm:t>
    </dgm:pt>
    <dgm:pt modelId="{C2F9CFC9-983C-6546-9164-C286D8DE419F}" type="parTrans" cxnId="{B2511C24-B322-494F-A85D-2E3AAAB4EED6}">
      <dgm:prSet/>
      <dgm:spPr/>
      <dgm:t>
        <a:bodyPr/>
        <a:lstStyle/>
        <a:p>
          <a:endParaRPr lang="en-US"/>
        </a:p>
      </dgm:t>
    </dgm:pt>
    <dgm:pt modelId="{39CE2ADD-BAF2-5E44-B6B1-D4A75419EF34}" type="sibTrans" cxnId="{B2511C24-B322-494F-A85D-2E3AAAB4EED6}">
      <dgm:prSet/>
      <dgm:spPr/>
      <dgm:t>
        <a:bodyPr/>
        <a:lstStyle/>
        <a:p>
          <a:endParaRPr lang="en-US"/>
        </a:p>
      </dgm:t>
    </dgm:pt>
    <dgm:pt modelId="{789A69E9-6081-FD4C-91B3-F9AABC68CF40}">
      <dgm:prSet phldrT="[Text]" custT="1"/>
      <dgm:spPr>
        <a:solidFill>
          <a:schemeClr val="bg1">
            <a:alpha val="70000"/>
          </a:schemeClr>
        </a:solidFill>
        <a:ln>
          <a:noFill/>
        </a:ln>
        <a:effectLst/>
      </dgm:spPr>
      <dgm:t>
        <a:bodyPr/>
        <a:lstStyle/>
        <a:p>
          <a:pPr algn="ctr"/>
          <a:r>
            <a:rPr lang="en-US" sz="2400" b="1" dirty="0" smtClean="0">
              <a:latin typeface="Glacial Indifference" charset="0"/>
              <a:ea typeface="Glacial Indifference" charset="0"/>
              <a:cs typeface="Glacial Indifference" charset="0"/>
            </a:rPr>
            <a:t>40M</a:t>
          </a:r>
          <a:endParaRPr lang="en-US" sz="2400" b="1" dirty="0">
            <a:latin typeface="Glacial Indifference" charset="0"/>
            <a:ea typeface="Glacial Indifference" charset="0"/>
            <a:cs typeface="Glacial Indifference" charset="0"/>
          </a:endParaRPr>
        </a:p>
      </dgm:t>
    </dgm:pt>
    <dgm:pt modelId="{3592BE1F-6F89-FA47-A577-3660B79341FF}" type="parTrans" cxnId="{1A7D7142-74A4-2F41-B3FF-9E7EC4EEFC68}">
      <dgm:prSet/>
      <dgm:spPr/>
      <dgm:t>
        <a:bodyPr/>
        <a:lstStyle/>
        <a:p>
          <a:endParaRPr lang="en-US"/>
        </a:p>
      </dgm:t>
    </dgm:pt>
    <dgm:pt modelId="{5D26109D-4E72-6348-AB71-5493D1EC5514}" type="sibTrans" cxnId="{1A7D7142-74A4-2F41-B3FF-9E7EC4EEFC68}">
      <dgm:prSet/>
      <dgm:spPr/>
      <dgm:t>
        <a:bodyPr/>
        <a:lstStyle/>
        <a:p>
          <a:endParaRPr lang="en-US"/>
        </a:p>
      </dgm:t>
    </dgm:pt>
    <dgm:pt modelId="{6AFDE59D-C3BD-4D49-AEF3-AB65539773E5}">
      <dgm:prSet phldrT="[Text]" custT="1"/>
      <dgm:spPr>
        <a:solidFill>
          <a:schemeClr val="bg1">
            <a:alpha val="70000"/>
          </a:schemeClr>
        </a:solidFill>
        <a:ln>
          <a:noFill/>
        </a:ln>
        <a:effectLst/>
      </dgm:spPr>
      <dgm:t>
        <a:bodyPr/>
        <a:lstStyle/>
        <a:p>
          <a:pPr algn="ctr"/>
          <a:r>
            <a:rPr lang="en-US" sz="2400" b="1" dirty="0" smtClean="0">
              <a:solidFill>
                <a:srgbClr val="00B4D2"/>
              </a:solidFill>
              <a:latin typeface="Glacial Indifference" charset="0"/>
              <a:ea typeface="Glacial Indifference" charset="0"/>
              <a:cs typeface="Glacial Indifference" charset="0"/>
            </a:rPr>
            <a:t>2M</a:t>
          </a:r>
          <a:endParaRPr lang="en-US" sz="2400" b="1" dirty="0">
            <a:solidFill>
              <a:srgbClr val="00B4D2"/>
            </a:solidFill>
            <a:latin typeface="Glacial Indifference" charset="0"/>
            <a:ea typeface="Glacial Indifference" charset="0"/>
            <a:cs typeface="Glacial Indifference" charset="0"/>
          </a:endParaRPr>
        </a:p>
      </dgm:t>
    </dgm:pt>
    <dgm:pt modelId="{EFD0B028-2B61-6D49-A329-8C71B01B61D7}" type="parTrans" cxnId="{0A21DC7E-318B-BA48-A99D-F0EAB657065C}">
      <dgm:prSet/>
      <dgm:spPr/>
      <dgm:t>
        <a:bodyPr/>
        <a:lstStyle/>
        <a:p>
          <a:endParaRPr lang="en-US"/>
        </a:p>
      </dgm:t>
    </dgm:pt>
    <dgm:pt modelId="{FFED0BFC-CCF7-EE40-92BD-74B794BBCA2E}" type="sibTrans" cxnId="{0A21DC7E-318B-BA48-A99D-F0EAB657065C}">
      <dgm:prSet/>
      <dgm:spPr/>
      <dgm:t>
        <a:bodyPr/>
        <a:lstStyle/>
        <a:p>
          <a:endParaRPr lang="en-US"/>
        </a:p>
      </dgm:t>
    </dgm:pt>
    <dgm:pt modelId="{D6FBE2A2-9C81-CB4F-9A11-8CE4E84E63BF}" type="pres">
      <dgm:prSet presAssocID="{2086C332-A63F-1442-9389-8468A22AFD07}" presName="Name0" presStyleCnt="0">
        <dgm:presLayoutVars>
          <dgm:chMax val="7"/>
          <dgm:resizeHandles val="exact"/>
        </dgm:presLayoutVars>
      </dgm:prSet>
      <dgm:spPr/>
      <dgm:t>
        <a:bodyPr/>
        <a:lstStyle/>
        <a:p>
          <a:endParaRPr lang="en-US"/>
        </a:p>
      </dgm:t>
    </dgm:pt>
    <dgm:pt modelId="{63F4D101-114C-F84F-90E3-507E51C4A95D}" type="pres">
      <dgm:prSet presAssocID="{2086C332-A63F-1442-9389-8468A22AFD07}" presName="comp1" presStyleCnt="0"/>
      <dgm:spPr/>
    </dgm:pt>
    <dgm:pt modelId="{FEB9C500-07DC-2842-BEE2-460EF06E282F}" type="pres">
      <dgm:prSet presAssocID="{2086C332-A63F-1442-9389-8468A22AFD07}" presName="circle1" presStyleLbl="node1" presStyleIdx="0" presStyleCnt="3" custLinFactNeighborX="49" custLinFactNeighborY="-55945"/>
      <dgm:spPr/>
      <dgm:t>
        <a:bodyPr/>
        <a:lstStyle/>
        <a:p>
          <a:endParaRPr lang="en-US"/>
        </a:p>
      </dgm:t>
    </dgm:pt>
    <dgm:pt modelId="{C02C8A99-DD0F-2E44-9905-BDE676005CAD}" type="pres">
      <dgm:prSet presAssocID="{2086C332-A63F-1442-9389-8468A22AFD07}" presName="c1text" presStyleLbl="node1" presStyleIdx="0" presStyleCnt="3">
        <dgm:presLayoutVars>
          <dgm:bulletEnabled val="1"/>
        </dgm:presLayoutVars>
      </dgm:prSet>
      <dgm:spPr/>
      <dgm:t>
        <a:bodyPr/>
        <a:lstStyle/>
        <a:p>
          <a:endParaRPr lang="en-US"/>
        </a:p>
      </dgm:t>
    </dgm:pt>
    <dgm:pt modelId="{323B9A74-4928-3D47-A5B5-BC9A92A96D11}" type="pres">
      <dgm:prSet presAssocID="{2086C332-A63F-1442-9389-8468A22AFD07}" presName="comp2" presStyleCnt="0"/>
      <dgm:spPr/>
    </dgm:pt>
    <dgm:pt modelId="{950AB04F-1AA3-334C-A643-211CB2095440}" type="pres">
      <dgm:prSet presAssocID="{2086C332-A63F-1442-9389-8468A22AFD07}" presName="circle2" presStyleLbl="node1" presStyleIdx="1" presStyleCnt="3" custScaleX="87893" custScaleY="87893" custLinFactNeighborX="-338" custLinFactNeighborY="-13874"/>
      <dgm:spPr/>
      <dgm:t>
        <a:bodyPr/>
        <a:lstStyle/>
        <a:p>
          <a:endParaRPr lang="en-US"/>
        </a:p>
      </dgm:t>
    </dgm:pt>
    <dgm:pt modelId="{E413555E-0046-9E45-BA73-B86B85C68BA2}" type="pres">
      <dgm:prSet presAssocID="{2086C332-A63F-1442-9389-8468A22AFD07}" presName="c2text" presStyleLbl="node1" presStyleIdx="1" presStyleCnt="3">
        <dgm:presLayoutVars>
          <dgm:bulletEnabled val="1"/>
        </dgm:presLayoutVars>
      </dgm:prSet>
      <dgm:spPr/>
      <dgm:t>
        <a:bodyPr/>
        <a:lstStyle/>
        <a:p>
          <a:endParaRPr lang="en-US"/>
        </a:p>
      </dgm:t>
    </dgm:pt>
    <dgm:pt modelId="{7FE207AA-3AEC-674A-8EAC-876E61FB6790}" type="pres">
      <dgm:prSet presAssocID="{2086C332-A63F-1442-9389-8468A22AFD07}" presName="comp3" presStyleCnt="0"/>
      <dgm:spPr/>
    </dgm:pt>
    <dgm:pt modelId="{D3C12166-D028-3345-8ACD-3F7D51F45B70}" type="pres">
      <dgm:prSet presAssocID="{2086C332-A63F-1442-9389-8468A22AFD07}" presName="circle3" presStyleLbl="node1" presStyleIdx="2" presStyleCnt="3" custScaleX="68106" custScaleY="68106" custLinFactNeighborX="71" custLinFactNeighborY="-45060"/>
      <dgm:spPr/>
      <dgm:t>
        <a:bodyPr/>
        <a:lstStyle/>
        <a:p>
          <a:endParaRPr lang="en-US"/>
        </a:p>
      </dgm:t>
    </dgm:pt>
    <dgm:pt modelId="{B5380031-5F08-DC47-BFB3-7000295EFA7F}" type="pres">
      <dgm:prSet presAssocID="{2086C332-A63F-1442-9389-8468A22AFD07}" presName="c3text" presStyleLbl="node1" presStyleIdx="2" presStyleCnt="3">
        <dgm:presLayoutVars>
          <dgm:bulletEnabled val="1"/>
        </dgm:presLayoutVars>
      </dgm:prSet>
      <dgm:spPr/>
      <dgm:t>
        <a:bodyPr/>
        <a:lstStyle/>
        <a:p>
          <a:endParaRPr lang="en-US"/>
        </a:p>
      </dgm:t>
    </dgm:pt>
  </dgm:ptLst>
  <dgm:cxnLst>
    <dgm:cxn modelId="{1A7D7142-74A4-2F41-B3FF-9E7EC4EEFC68}" srcId="{2086C332-A63F-1442-9389-8468A22AFD07}" destId="{789A69E9-6081-FD4C-91B3-F9AABC68CF40}" srcOrd="1" destOrd="0" parTransId="{3592BE1F-6F89-FA47-A577-3660B79341FF}" sibTransId="{5D26109D-4E72-6348-AB71-5493D1EC5514}"/>
    <dgm:cxn modelId="{30CA5261-2763-824C-A07F-A12FAB443D87}" type="presOf" srcId="{6AFDE59D-C3BD-4D49-AEF3-AB65539773E5}" destId="{D3C12166-D028-3345-8ACD-3F7D51F45B70}" srcOrd="0" destOrd="0" presId="urn:microsoft.com/office/officeart/2005/8/layout/venn2"/>
    <dgm:cxn modelId="{2B0AB1A9-2D8B-A74A-A374-16FDA18F46A5}" type="presOf" srcId="{789A69E9-6081-FD4C-91B3-F9AABC68CF40}" destId="{950AB04F-1AA3-334C-A643-211CB2095440}" srcOrd="0" destOrd="0" presId="urn:microsoft.com/office/officeart/2005/8/layout/venn2"/>
    <dgm:cxn modelId="{6362A03F-029D-2D46-9308-7941B15021D5}" type="presOf" srcId="{789A69E9-6081-FD4C-91B3-F9AABC68CF40}" destId="{E413555E-0046-9E45-BA73-B86B85C68BA2}" srcOrd="1" destOrd="0" presId="urn:microsoft.com/office/officeart/2005/8/layout/venn2"/>
    <dgm:cxn modelId="{A1C8E044-55A8-4943-AFB4-D4EBA407636A}" type="presOf" srcId="{A2576D40-7D1D-A643-82CE-1332C1F1DD0D}" destId="{C02C8A99-DD0F-2E44-9905-BDE676005CAD}" srcOrd="1" destOrd="0" presId="urn:microsoft.com/office/officeart/2005/8/layout/venn2"/>
    <dgm:cxn modelId="{E00283EB-351D-E84D-9495-8648DA7C666B}" type="presOf" srcId="{6AFDE59D-C3BD-4D49-AEF3-AB65539773E5}" destId="{B5380031-5F08-DC47-BFB3-7000295EFA7F}" srcOrd="1" destOrd="0" presId="urn:microsoft.com/office/officeart/2005/8/layout/venn2"/>
    <dgm:cxn modelId="{0A21DC7E-318B-BA48-A99D-F0EAB657065C}" srcId="{2086C332-A63F-1442-9389-8468A22AFD07}" destId="{6AFDE59D-C3BD-4D49-AEF3-AB65539773E5}" srcOrd="2" destOrd="0" parTransId="{EFD0B028-2B61-6D49-A329-8C71B01B61D7}" sibTransId="{FFED0BFC-CCF7-EE40-92BD-74B794BBCA2E}"/>
    <dgm:cxn modelId="{26435E07-3982-5A44-A2D7-9AD3E9CE8D63}" type="presOf" srcId="{2086C332-A63F-1442-9389-8468A22AFD07}" destId="{D6FBE2A2-9C81-CB4F-9A11-8CE4E84E63BF}" srcOrd="0" destOrd="0" presId="urn:microsoft.com/office/officeart/2005/8/layout/venn2"/>
    <dgm:cxn modelId="{B2511C24-B322-494F-A85D-2E3AAAB4EED6}" srcId="{2086C332-A63F-1442-9389-8468A22AFD07}" destId="{A2576D40-7D1D-A643-82CE-1332C1F1DD0D}" srcOrd="0" destOrd="0" parTransId="{C2F9CFC9-983C-6546-9164-C286D8DE419F}" sibTransId="{39CE2ADD-BAF2-5E44-B6B1-D4A75419EF34}"/>
    <dgm:cxn modelId="{8CA81464-4DC3-CC4B-9859-810CFBB50587}" type="presOf" srcId="{A2576D40-7D1D-A643-82CE-1332C1F1DD0D}" destId="{FEB9C500-07DC-2842-BEE2-460EF06E282F}" srcOrd="0" destOrd="0" presId="urn:microsoft.com/office/officeart/2005/8/layout/venn2"/>
    <dgm:cxn modelId="{7B028E69-33C2-0946-86E8-54DFAD086D28}" type="presParOf" srcId="{D6FBE2A2-9C81-CB4F-9A11-8CE4E84E63BF}" destId="{63F4D101-114C-F84F-90E3-507E51C4A95D}" srcOrd="0" destOrd="0" presId="urn:microsoft.com/office/officeart/2005/8/layout/venn2"/>
    <dgm:cxn modelId="{270512B5-5179-BB40-9314-7B0AE21115BD}" type="presParOf" srcId="{63F4D101-114C-F84F-90E3-507E51C4A95D}" destId="{FEB9C500-07DC-2842-BEE2-460EF06E282F}" srcOrd="0" destOrd="0" presId="urn:microsoft.com/office/officeart/2005/8/layout/venn2"/>
    <dgm:cxn modelId="{3D6E94C7-B935-B04E-8A9E-75BBC59EE432}" type="presParOf" srcId="{63F4D101-114C-F84F-90E3-507E51C4A95D}" destId="{C02C8A99-DD0F-2E44-9905-BDE676005CAD}" srcOrd="1" destOrd="0" presId="urn:microsoft.com/office/officeart/2005/8/layout/venn2"/>
    <dgm:cxn modelId="{1C908160-73D2-5D4F-B0B9-80A49625B42F}" type="presParOf" srcId="{D6FBE2A2-9C81-CB4F-9A11-8CE4E84E63BF}" destId="{323B9A74-4928-3D47-A5B5-BC9A92A96D11}" srcOrd="1" destOrd="0" presId="urn:microsoft.com/office/officeart/2005/8/layout/venn2"/>
    <dgm:cxn modelId="{E8ED295F-F568-E24A-A3FA-AA84FE7D2DB2}" type="presParOf" srcId="{323B9A74-4928-3D47-A5B5-BC9A92A96D11}" destId="{950AB04F-1AA3-334C-A643-211CB2095440}" srcOrd="0" destOrd="0" presId="urn:microsoft.com/office/officeart/2005/8/layout/venn2"/>
    <dgm:cxn modelId="{8269F662-FB1B-A04C-B39C-C5DA76F721A3}" type="presParOf" srcId="{323B9A74-4928-3D47-A5B5-BC9A92A96D11}" destId="{E413555E-0046-9E45-BA73-B86B85C68BA2}" srcOrd="1" destOrd="0" presId="urn:microsoft.com/office/officeart/2005/8/layout/venn2"/>
    <dgm:cxn modelId="{B7ED1A9E-EA5B-124D-8DE9-EFC3961A03A5}" type="presParOf" srcId="{D6FBE2A2-9C81-CB4F-9A11-8CE4E84E63BF}" destId="{7FE207AA-3AEC-674A-8EAC-876E61FB6790}" srcOrd="2" destOrd="0" presId="urn:microsoft.com/office/officeart/2005/8/layout/venn2"/>
    <dgm:cxn modelId="{3110C670-B990-2B46-A27B-CE9BB711A5AB}" type="presParOf" srcId="{7FE207AA-3AEC-674A-8EAC-876E61FB6790}" destId="{D3C12166-D028-3345-8ACD-3F7D51F45B70}" srcOrd="0" destOrd="0" presId="urn:microsoft.com/office/officeart/2005/8/layout/venn2"/>
    <dgm:cxn modelId="{EB7559D2-AF76-9445-BD9A-B28BF8747EB3}" type="presParOf" srcId="{7FE207AA-3AEC-674A-8EAC-876E61FB6790}" destId="{B5380031-5F08-DC47-BFB3-7000295EFA7F}" srcOrd="1" destOrd="0" presId="urn:microsoft.com/office/officeart/2005/8/layout/ven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9C500-07DC-2842-BEE2-460EF06E282F}">
      <dsp:nvSpPr>
        <dsp:cNvPr id="0" name=""/>
        <dsp:cNvSpPr/>
      </dsp:nvSpPr>
      <dsp:spPr>
        <a:xfrm>
          <a:off x="886278" y="0"/>
          <a:ext cx="3614704" cy="3614704"/>
        </a:xfrm>
        <a:prstGeom prst="ellipse">
          <a:avLst/>
        </a:prstGeom>
        <a:solidFill>
          <a:srgbClr val="444445">
            <a:alpha val="70000"/>
          </a:srgb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 200M</a:t>
          </a:r>
          <a:endParaRPr lang="en-US" sz="2400" b="1" kern="1200" dirty="0">
            <a:latin typeface="Glacial Indifference" charset="0"/>
            <a:ea typeface="Glacial Indifference" charset="0"/>
            <a:cs typeface="Glacial Indifference" charset="0"/>
          </a:endParaRPr>
        </a:p>
      </dsp:txBody>
      <dsp:txXfrm>
        <a:off x="2061960" y="180735"/>
        <a:ext cx="1263339" cy="542205"/>
      </dsp:txXfrm>
    </dsp:sp>
    <dsp:sp modelId="{950AB04F-1AA3-334C-A643-211CB2095440}">
      <dsp:nvSpPr>
        <dsp:cNvPr id="0" name=""/>
        <dsp:cNvSpPr/>
      </dsp:nvSpPr>
      <dsp:spPr>
        <a:xfrm>
          <a:off x="1491293" y="691660"/>
          <a:ext cx="2382803" cy="2382803"/>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40M</a:t>
          </a:r>
          <a:endParaRPr lang="en-US" sz="2400" b="1" kern="1200" dirty="0">
            <a:latin typeface="Glacial Indifference" charset="0"/>
            <a:ea typeface="Glacial Indifference" charset="0"/>
            <a:cs typeface="Glacial Indifference" charset="0"/>
          </a:endParaRPr>
        </a:p>
      </dsp:txBody>
      <dsp:txXfrm>
        <a:off x="2127502" y="840585"/>
        <a:ext cx="1110386" cy="446775"/>
      </dsp:txXfrm>
    </dsp:sp>
    <dsp:sp modelId="{D3C12166-D028-3345-8ACD-3F7D51F45B70}">
      <dsp:nvSpPr>
        <dsp:cNvPr id="0" name=""/>
        <dsp:cNvSpPr/>
      </dsp:nvSpPr>
      <dsp:spPr>
        <a:xfrm>
          <a:off x="2077684" y="1281177"/>
          <a:ext cx="1230915" cy="1230915"/>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solidFill>
                <a:srgbClr val="00B4D2"/>
              </a:solidFill>
              <a:latin typeface="Glacial Indifference" charset="0"/>
              <a:ea typeface="Glacial Indifference" charset="0"/>
              <a:cs typeface="Glacial Indifference" charset="0"/>
            </a:rPr>
            <a:t>2M</a:t>
          </a:r>
          <a:endParaRPr lang="en-US" sz="2400" b="1" kern="1200" dirty="0">
            <a:solidFill>
              <a:srgbClr val="00B4D2"/>
            </a:solidFill>
            <a:latin typeface="Glacial Indifference" charset="0"/>
            <a:ea typeface="Glacial Indifference" charset="0"/>
            <a:cs typeface="Glacial Indifference" charset="0"/>
          </a:endParaRPr>
        </a:p>
      </dsp:txBody>
      <dsp:txXfrm>
        <a:off x="2257947" y="1588906"/>
        <a:ext cx="870388" cy="615457"/>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31158211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neuehouse.com/"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FONTING: we’re using </a:t>
            </a:r>
            <a:r>
              <a:rPr lang="en-US" dirty="0" err="1" smtClean="0"/>
              <a:t>nexa</a:t>
            </a:r>
            <a:r>
              <a:rPr lang="en-US" dirty="0" smtClean="0"/>
              <a:t> bold here, but glacial</a:t>
            </a:r>
            <a:r>
              <a:rPr lang="en-US" baseline="0" dirty="0" smtClean="0"/>
              <a:t> indifference elsewhere. Thoughts?</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dirty="0" smtClean="0"/>
              <a:t>1AA6C9</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5A5A6</a:t>
            </a:r>
            <a:endParaRPr dirty="0"/>
          </a:p>
        </p:txBody>
      </p:sp>
    </p:spTree>
    <p:extLst>
      <p:ext uri="{BB962C8B-B14F-4D97-AF65-F5344CB8AC3E}">
        <p14:creationId xmlns:p14="http://schemas.microsoft.com/office/powerpoint/2010/main" val="1227619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2115844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38649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355190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8705915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1M raise, $2M qualifying event, $4.5M cap</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20% discount, 6% interest, 2-year maturity</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algn="ctr" rtl="0">
              <a:spcBef>
                <a:spcPts val="0"/>
              </a:spcBef>
              <a:spcAft>
                <a:spcPts val="0"/>
              </a:spcAft>
              <a:buClr>
                <a:schemeClr val="dk1"/>
              </a:buClr>
              <a:buSzPts val="1100"/>
              <a:buFont typeface="Arial"/>
              <a:buNone/>
            </a:pPr>
            <a:r>
              <a:rPr lang="en" sz="1800" b="1" dirty="0">
                <a:solidFill>
                  <a:srgbClr val="000080"/>
                </a:solidFill>
                <a:latin typeface="Montserrat"/>
                <a:ea typeface="Montserrat"/>
                <a:cs typeface="Montserrat"/>
                <a:sym typeface="Montserrat"/>
              </a:rPr>
              <a:t>Safe-Note</a:t>
            </a:r>
            <a:endParaRPr sz="1800" b="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1200" b="1" i="1" dirty="0">
                <a:solidFill>
                  <a:srgbClr val="000080"/>
                </a:solidFill>
                <a:latin typeface="Montserrat"/>
                <a:ea typeface="Montserrat"/>
                <a:cs typeface="Montserrat"/>
                <a:sym typeface="Montserrat"/>
              </a:rPr>
              <a:t>$1.8M cap</a:t>
            </a:r>
            <a:endParaRPr sz="1200" b="1" i="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800" b="1" i="1" dirty="0">
                <a:solidFill>
                  <a:srgbClr val="000080"/>
                </a:solidFill>
                <a:latin typeface="Montserrat"/>
                <a:ea typeface="Montserrat"/>
                <a:cs typeface="Montserrat"/>
                <a:sym typeface="Montserrat"/>
              </a:rPr>
              <a:t>20% discount, 6% interest, 2-year maturity</a:t>
            </a:r>
            <a:endParaRPr sz="800" b="1" i="1" dirty="0">
              <a:solidFill>
                <a:srgbClr val="000080"/>
              </a:solidFill>
              <a:latin typeface="Montserrat"/>
              <a:ea typeface="Montserrat"/>
              <a:cs typeface="Montserrat"/>
              <a:sym typeface="Montserrat"/>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rtl="0">
              <a:spcBef>
                <a:spcPts val="0"/>
              </a:spcBef>
              <a:spcAft>
                <a:spcPts val="0"/>
              </a:spcAft>
              <a:buNone/>
            </a:pPr>
            <a:endParaRPr dirty="0"/>
          </a:p>
        </p:txBody>
      </p:sp>
    </p:spTree>
    <p:extLst>
      <p:ext uri="{BB962C8B-B14F-4D97-AF65-F5344CB8AC3E}">
        <p14:creationId xmlns:p14="http://schemas.microsoft.com/office/powerpoint/2010/main" val="1621493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US" sz="1000" dirty="0" smtClean="0">
                <a:solidFill>
                  <a:schemeClr val="dk1"/>
                </a:solidFill>
              </a:rPr>
              <a:t>Revolutionizing</a:t>
            </a:r>
            <a:r>
              <a:rPr lang="en-US" sz="1000" baseline="0" dirty="0" smtClean="0">
                <a:solidFill>
                  <a:schemeClr val="dk1"/>
                </a:solidFill>
              </a:rPr>
              <a:t> the industry</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The way people access fitness</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ETC ETC.</a:t>
            </a:r>
          </a:p>
          <a:p>
            <a:pPr marL="0" lvl="0" indent="0" rtl="0">
              <a:lnSpc>
                <a:spcPct val="127272"/>
              </a:lnSpc>
              <a:spcBef>
                <a:spcPts val="0"/>
              </a:spcBef>
              <a:spcAft>
                <a:spcPts val="0"/>
              </a:spcAft>
              <a:buClr>
                <a:schemeClr val="dk1"/>
              </a:buClr>
              <a:buSzPts val="1100"/>
              <a:buFont typeface="Arial"/>
              <a:buNone/>
            </a:pPr>
            <a:r>
              <a:rPr lang="en-US" sz="1000" b="1" baseline="0" dirty="0" smtClean="0">
                <a:solidFill>
                  <a:schemeClr val="dk1"/>
                </a:solidFill>
              </a:rPr>
              <a:t>To invest in </a:t>
            </a:r>
            <a:r>
              <a:rPr lang="en-US" sz="1000" b="1" baseline="0" dirty="0" err="1" smtClean="0">
                <a:solidFill>
                  <a:schemeClr val="dk1"/>
                </a:solidFill>
              </a:rPr>
              <a:t>flexit</a:t>
            </a:r>
            <a:r>
              <a:rPr lang="en-US" sz="1000" b="1" baseline="0" dirty="0" smtClean="0">
                <a:solidFill>
                  <a:schemeClr val="dk1"/>
                </a:solidFill>
              </a:rPr>
              <a:t> v a gym is a way of participating in secular trend without the capital cost.</a:t>
            </a:r>
            <a:endParaRPr lang="en-US" sz="1000" b="1" dirty="0" smtClean="0">
              <a:solidFill>
                <a:schemeClr val="dk1"/>
              </a:solidFill>
            </a:endParaRPr>
          </a:p>
        </p:txBody>
      </p:sp>
    </p:spTree>
    <p:extLst>
      <p:ext uri="{BB962C8B-B14F-4D97-AF65-F5344CB8AC3E}">
        <p14:creationId xmlns:p14="http://schemas.microsoft.com/office/powerpoint/2010/main" val="9601074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220468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248202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158750" indent="0">
              <a:buNone/>
            </a:pPr>
            <a:endParaRPr lang="en-US" sz="1600" baseline="0" dirty="0" smtClean="0"/>
          </a:p>
        </p:txBody>
      </p:sp>
    </p:spTree>
    <p:extLst>
      <p:ext uri="{BB962C8B-B14F-4D97-AF65-F5344CB8AC3E}">
        <p14:creationId xmlns:p14="http://schemas.microsoft.com/office/powerpoint/2010/main" val="1792469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2352806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640014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1292312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212474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964684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128168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735029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032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Shape 11"/>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Shape 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11700" y="1106125"/>
            <a:ext cx="8520600" cy="1963500"/>
          </a:xfrm>
          <a:prstGeom prst="rect">
            <a:avLst/>
          </a:prstGeom>
        </p:spPr>
        <p:txBody>
          <a:bodyPr spcFirstLastPara="1" wrap="square" lIns="91425" tIns="91425" rIns="91425" bIns="91425" anchor="b" anchorCtr="0"/>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endParaRPr/>
          </a:p>
        </p:txBody>
      </p:sp>
      <p:sp>
        <p:nvSpPr>
          <p:cNvPr id="46" name="Shape 46"/>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Shape 4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Shape 1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Shape 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Shape 22"/>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Shape 23"/>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Shape 2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Shape 2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Shape 30"/>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Shape 3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Shape 3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Shape 3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37"/>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Shape 38"/>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Shape 3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Shape 4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lstStyle>
            <a:lvl1pPr marL="457200" lvl="0" indent="-228600">
              <a:lnSpc>
                <a:spcPct val="100000"/>
              </a:lnSpc>
              <a:spcBef>
                <a:spcPts val="0"/>
              </a:spcBef>
              <a:spcAft>
                <a:spcPts val="0"/>
              </a:spcAft>
              <a:buSzPts val="1800"/>
              <a:buNone/>
              <a:defRPr/>
            </a:lvl1pPr>
          </a:lstStyle>
          <a:p>
            <a:endParaRPr/>
          </a:p>
        </p:txBody>
      </p:sp>
      <p:sp>
        <p:nvSpPr>
          <p:cNvPr id="43" name="Shape 4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0279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hape 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Shape 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Shape 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info@tuurnup.com" TargetMode="External"/><Relationship Id="rId4" Type="http://schemas.openxmlformats.org/officeDocument/2006/relationships/hyperlink" Target="http://www.tuurnup.com" TargetMode="External"/><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1" Type="http://schemas.openxmlformats.org/officeDocument/2006/relationships/image" Target="../media/image26.pn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5" Type="http://schemas.openxmlformats.org/officeDocument/2006/relationships/image" Target="../media/image30.png"/><Relationship Id="rId16" Type="http://schemas.openxmlformats.org/officeDocument/2006/relationships/image" Target="../media/image31.png"/><Relationship Id="rId17" Type="http://schemas.openxmlformats.org/officeDocument/2006/relationships/image" Target="../media/image32.png"/><Relationship Id="rId18" Type="http://schemas.openxmlformats.org/officeDocument/2006/relationships/image" Target="../media/image33.emf"/><Relationship Id="rId19" Type="http://schemas.openxmlformats.org/officeDocument/2006/relationships/comments" Target="../comments/comment3.xml"/><Relationship Id="rId1" Type="http://schemas.openxmlformats.org/officeDocument/2006/relationships/slideLayout" Target="../slideLayouts/slideLayout1.xml"/><Relationship Id="rId2" Type="http://schemas.openxmlformats.org/officeDocument/2006/relationships/notesSlide" Target="../notesSlides/notesSlide11.xml"/><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34.jpg"/><Relationship Id="rId5" Type="http://schemas.openxmlformats.org/officeDocument/2006/relationships/image" Target="../media/image2.png"/><Relationship Id="rId6" Type="http://schemas.openxmlformats.org/officeDocument/2006/relationships/image" Target="../media/image35.jpeg"/><Relationship Id="rId1" Type="http://schemas.openxmlformats.org/officeDocument/2006/relationships/slideLayout" Target="../slideLayouts/slideLayout1.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7.xml"/><Relationship Id="rId3"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3.xml"/><Relationship Id="rId5" Type="http://schemas.openxmlformats.org/officeDocument/2006/relationships/image" Target="../media/image3.png"/><Relationship Id="rId6" Type="http://schemas.openxmlformats.org/officeDocument/2006/relationships/oleObject" Target="../embeddings/oleObject3.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4.xml"/><Relationship Id="rId5" Type="http://schemas.openxmlformats.org/officeDocument/2006/relationships/image" Target="../media/image3.png"/><Relationship Id="rId6" Type="http://schemas.openxmlformats.org/officeDocument/2006/relationships/oleObject" Target="../embeddings/oleObject4.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4.vml"/><Relationship Id="rId2"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4.emf"/><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5.png"/><Relationship Id="rId6" Type="http://schemas.openxmlformats.org/officeDocument/2006/relationships/comments" Target="../comments/comment1.xm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6.tiff"/><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2.png"/><Relationship Id="rId10" Type="http://schemas.openxmlformats.org/officeDocument/2006/relationships/comments" Target="../comments/comment2.xml"/><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png"/><Relationship Id="rId1" Type="http://schemas.openxmlformats.org/officeDocument/2006/relationships/vmlDrawing" Target="../drawings/vmlDrawing5.vml"/><Relationship Id="rId2" Type="http://schemas.openxmlformats.org/officeDocument/2006/relationships/tags" Target="../tags/tag6.xml"/><Relationship Id="rId3" Type="http://schemas.openxmlformats.org/officeDocument/2006/relationships/slideLayout" Target="../slideLayouts/slideLayout1.xml"/><Relationship Id="rId4" Type="http://schemas.openxmlformats.org/officeDocument/2006/relationships/notesSlide" Target="../notesSlides/notesSlide8.xml"/><Relationship Id="rId5" Type="http://schemas.openxmlformats.org/officeDocument/2006/relationships/image" Target="../media/image3.png"/><Relationship Id="rId6" Type="http://schemas.openxmlformats.org/officeDocument/2006/relationships/oleObject" Target="../embeddings/oleObject5.bin"/><Relationship Id="rId7" Type="http://schemas.openxmlformats.org/officeDocument/2006/relationships/image" Target="../media/image1.emf"/><Relationship Id="rId8" Type="http://schemas.openxmlformats.org/officeDocument/2006/relationships/image" Target="../media/image11.png"/><Relationship Id="rId9" Type="http://schemas.openxmlformats.org/officeDocument/2006/relationships/image" Target="../media/image12.png"/><Relationship Id="rId10"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53"/>
        <p:cNvGrpSpPr/>
        <p:nvPr/>
      </p:nvGrpSpPr>
      <p:grpSpPr>
        <a:xfrm>
          <a:off x="0" y="0"/>
          <a:ext cx="0" cy="0"/>
          <a:chOff x="0" y="0"/>
          <a:chExt cx="0" cy="0"/>
        </a:xfrm>
      </p:grpSpPr>
      <p:sp>
        <p:nvSpPr>
          <p:cNvPr id="54" name="Shape 54"/>
          <p:cNvSpPr txBox="1">
            <a:spLocks noGrp="1"/>
          </p:cNvSpPr>
          <p:nvPr>
            <p:ph type="ctrTitle"/>
          </p:nvPr>
        </p:nvSpPr>
        <p:spPr>
          <a:xfrm>
            <a:off x="2637454" y="3158918"/>
            <a:ext cx="3869167" cy="575100"/>
          </a:xfrm>
          <a:prstGeom prst="rect">
            <a:avLst/>
          </a:prstGeom>
        </p:spPr>
        <p:txBody>
          <a:bodyPr spcFirstLastPara="1" wrap="non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a:rPr>
              <a:t>WHEREVER, WHENEVER.</a:t>
            </a:r>
            <a:endParaRPr sz="2400" dirty="0">
              <a:solidFill>
                <a:schemeClr val="bg1"/>
              </a:solidFill>
              <a:latin typeface="Glacial Indifference" charset="0"/>
              <a:ea typeface="Glacial Indifference" charset="0"/>
              <a:cs typeface="Glacial Indifference" charset="0"/>
              <a:sym typeface="Montserrat"/>
            </a:endParaRPr>
          </a:p>
        </p:txBody>
      </p:sp>
      <p:sp>
        <p:nvSpPr>
          <p:cNvPr id="55" name="Shape 55"/>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a:t>
            </a:fld>
            <a:endParaRPr dirty="0">
              <a:solidFill>
                <a:schemeClr val="bg1"/>
              </a:solidFill>
              <a:latin typeface="Montserrat"/>
              <a:ea typeface="Montserrat"/>
              <a:cs typeface="Montserrat"/>
              <a:sym typeface="Montserrat"/>
            </a:endParaRPr>
          </a:p>
        </p:txBody>
      </p:sp>
      <p:sp>
        <p:nvSpPr>
          <p:cNvPr id="56" name="Shape 56"/>
          <p:cNvSpPr txBox="1">
            <a:spLocks noGrp="1"/>
          </p:cNvSpPr>
          <p:nvPr>
            <p:ph type="ctrTitle"/>
          </p:nvPr>
        </p:nvSpPr>
        <p:spPr>
          <a:xfrm>
            <a:off x="2847788" y="4389025"/>
            <a:ext cx="3448500" cy="667800"/>
          </a:xfrm>
          <a:prstGeom prst="rect">
            <a:avLst/>
          </a:prstGeom>
        </p:spPr>
        <p:txBody>
          <a:bodyPr spcFirstLastPara="1" wrap="square" lIns="91425" tIns="91425" rIns="91425" bIns="91425" anchor="b" anchorCtr="0">
            <a:noAutofit/>
          </a:bodyPr>
          <a:lstStyle/>
          <a:p>
            <a:pPr marL="0" lvl="0" indent="0">
              <a:spcBef>
                <a:spcPts val="0"/>
              </a:spcBef>
              <a:spcAft>
                <a:spcPts val="0"/>
              </a:spcAft>
              <a:buNone/>
            </a:pPr>
            <a:endParaRPr sz="1000" dirty="0">
              <a:solidFill>
                <a:schemeClr val="bg1"/>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3"/>
              </a:rPr>
              <a:t>flexit@flexit.fit</a:t>
            </a:r>
            <a:endParaRPr b="1" dirty="0">
              <a:solidFill>
                <a:srgbClr val="00B4D2"/>
              </a:solidFill>
              <a:latin typeface="Glacial Indifference" charset="0"/>
              <a:ea typeface="Glacial Indifference" charset="0"/>
              <a:cs typeface="Glacial Indifference" charset="0"/>
              <a:sym typeface="Montserrat"/>
            </a:endParaRPr>
          </a:p>
          <a:p>
            <a:pPr marL="0" lvl="0" indent="0" rtl="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4"/>
              </a:rPr>
              <a:t>www.flexit.fit</a:t>
            </a:r>
            <a:endParaRPr sz="600" b="1" dirty="0">
              <a:solidFill>
                <a:srgbClr val="00B4D2"/>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US" sz="800" dirty="0" smtClean="0">
                <a:solidFill>
                  <a:schemeClr val="bg1"/>
                </a:solidFill>
                <a:latin typeface="Glacial Indifference" charset="0"/>
                <a:ea typeface="Glacial Indifference" charset="0"/>
                <a:cs typeface="Glacial Indifference" charset="0"/>
                <a:sym typeface="Montserrat"/>
              </a:rPr>
              <a:t>Spring </a:t>
            </a:r>
            <a:r>
              <a:rPr lang="en" sz="800" dirty="0" smtClean="0">
                <a:solidFill>
                  <a:schemeClr val="bg1"/>
                </a:solidFill>
                <a:latin typeface="Glacial Indifference" charset="0"/>
                <a:ea typeface="Glacial Indifference" charset="0"/>
                <a:cs typeface="Glacial Indifference" charset="0"/>
                <a:sym typeface="Montserrat"/>
              </a:rPr>
              <a:t>2018</a:t>
            </a:r>
            <a:endParaRPr sz="800" dirty="0">
              <a:solidFill>
                <a:schemeClr val="bg1"/>
              </a:solidFill>
              <a:latin typeface="Glacial Indifference" charset="0"/>
              <a:ea typeface="Glacial Indifference" charset="0"/>
              <a:cs typeface="Glacial Indifference" charset="0"/>
              <a:sym typeface="Montserrat"/>
            </a:endParaRPr>
          </a:p>
          <a:p>
            <a:pPr marL="0" lvl="0" indent="0" rtl="0">
              <a:spcBef>
                <a:spcPts val="0"/>
              </a:spcBef>
              <a:spcAft>
                <a:spcPts val="0"/>
              </a:spcAft>
              <a:buClr>
                <a:schemeClr val="dk1"/>
              </a:buClr>
              <a:buSzPts val="1100"/>
              <a:buFont typeface="Arial"/>
              <a:buNone/>
            </a:pPr>
            <a:r>
              <a:rPr lang="en" sz="600" b="1" dirty="0">
                <a:solidFill>
                  <a:schemeClr val="bg1"/>
                </a:solidFill>
                <a:latin typeface="Glacial Indifference" charset="0"/>
                <a:ea typeface="Glacial Indifference" charset="0"/>
                <a:cs typeface="Glacial Indifference" charset="0"/>
                <a:sym typeface="Montserrat"/>
              </a:rPr>
              <a:t>Confidential &amp; Proprietary</a:t>
            </a:r>
            <a:endParaRPr sz="800" b="1" dirty="0">
              <a:solidFill>
                <a:schemeClr val="bg1"/>
              </a:solidFill>
              <a:latin typeface="Glacial Indifference" charset="0"/>
              <a:ea typeface="Glacial Indifference" charset="0"/>
              <a:cs typeface="Glacial Indifference" charset="0"/>
              <a:sym typeface="Montserrat"/>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977" y="1620241"/>
            <a:ext cx="7894119" cy="883670"/>
          </a:xfrm>
          <a:prstGeom prst="rect">
            <a:avLst/>
          </a:prstGeom>
        </p:spPr>
      </p:pic>
    </p:spTree>
    <p:extLst>
      <p:ext uri="{BB962C8B-B14F-4D97-AF65-F5344CB8AC3E}">
        <p14:creationId xmlns:p14="http://schemas.microsoft.com/office/powerpoint/2010/main" val="330111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0</a:t>
            </a:fld>
            <a:endParaRPr dirty="0">
              <a:solidFill>
                <a:schemeClr val="bg1"/>
              </a:solidFill>
              <a:latin typeface="Montserrat"/>
              <a:ea typeface="Montserrat"/>
              <a:cs typeface="Montserrat"/>
              <a:sym typeface="Montserrat"/>
            </a:endParaRPr>
          </a:p>
        </p:txBody>
      </p:sp>
      <p:sp>
        <p:nvSpPr>
          <p:cNvPr id="51" name="TextBox 50"/>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has a multifaceted approach to acquiring and retaining customers</a:t>
            </a:r>
          </a:p>
        </p:txBody>
      </p:sp>
      <p:grpSp>
        <p:nvGrpSpPr>
          <p:cNvPr id="3" name="Group 2"/>
          <p:cNvGrpSpPr/>
          <p:nvPr/>
        </p:nvGrpSpPr>
        <p:grpSpPr>
          <a:xfrm>
            <a:off x="641268" y="1157561"/>
            <a:ext cx="7842813" cy="3398537"/>
            <a:chOff x="637394" y="1069815"/>
            <a:chExt cx="7842813" cy="3398537"/>
          </a:xfrm>
        </p:grpSpPr>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637394" y="1408545"/>
              <a:ext cx="7842813" cy="3059807"/>
              <a:chOff x="637394" y="1408545"/>
              <a:chExt cx="7842813" cy="3059807"/>
            </a:xfrm>
          </p:grpSpPr>
          <p:cxnSp>
            <p:nvCxnSpPr>
              <p:cNvPr id="8" name="Straight Connector 7"/>
              <p:cNvCxnSpPr/>
              <p:nvPr/>
            </p:nvCxnSpPr>
            <p:spPr>
              <a:xfrm>
                <a:off x="1149580" y="2360645"/>
                <a:ext cx="6766497"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37394" y="3444006"/>
                <a:ext cx="7842813"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408545"/>
                <a:ext cx="0" cy="95210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408237" y="1530672"/>
              <a:ext cx="2692772" cy="584775"/>
              <a:chOff x="1408237" y="1530672"/>
              <a:chExt cx="2692772" cy="584775"/>
            </a:xfrm>
          </p:grpSpPr>
          <p:sp>
            <p:nvSpPr>
              <p:cNvPr id="64" name="Rectangle 63"/>
              <p:cNvSpPr/>
              <p:nvPr/>
            </p:nvSpPr>
            <p:spPr>
              <a:xfrm>
                <a:off x="2872156" y="1645009"/>
                <a:ext cx="1228853"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408237" y="1530672"/>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6937588" y="3504698"/>
              <a:ext cx="1542619" cy="849767"/>
              <a:chOff x="3289821" y="1277570"/>
              <a:chExt cx="1542619" cy="849767"/>
            </a:xfrm>
          </p:grpSpPr>
          <p:sp>
            <p:nvSpPr>
              <p:cNvPr id="85" name="Rectangle 84"/>
              <p:cNvSpPr/>
              <p:nvPr/>
            </p:nvSpPr>
            <p:spPr>
              <a:xfrm>
                <a:off x="3289821" y="17272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3485854" y="1277570"/>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42992" y="1520510"/>
              <a:ext cx="2329801" cy="584775"/>
              <a:chOff x="1147992" y="1495947"/>
              <a:chExt cx="2329801" cy="584775"/>
            </a:xfrm>
          </p:grpSpPr>
          <p:sp>
            <p:nvSpPr>
              <p:cNvPr id="88" name="Rectangle 87"/>
              <p:cNvSpPr/>
              <p:nvPr/>
            </p:nvSpPr>
            <p:spPr>
              <a:xfrm>
                <a:off x="193517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4799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797285" y="3508324"/>
              <a:ext cx="1790876" cy="840340"/>
              <a:chOff x="675763" y="1271710"/>
              <a:chExt cx="1790876" cy="840340"/>
            </a:xfrm>
          </p:grpSpPr>
          <p:sp>
            <p:nvSpPr>
              <p:cNvPr id="100" name="Rectangle 99"/>
              <p:cNvSpPr/>
              <p:nvPr/>
            </p:nvSpPr>
            <p:spPr>
              <a:xfrm>
                <a:off x="757881" y="1711940"/>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675763" y="1271710"/>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520713" y="2467924"/>
              <a:ext cx="2101858" cy="849767"/>
              <a:chOff x="1519444" y="1283718"/>
              <a:chExt cx="2101858" cy="849767"/>
            </a:xfrm>
          </p:grpSpPr>
          <p:sp>
            <p:nvSpPr>
              <p:cNvPr id="123" name="Rectangle 122"/>
              <p:cNvSpPr/>
              <p:nvPr/>
            </p:nvSpPr>
            <p:spPr>
              <a:xfrm>
                <a:off x="1825147"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519444" y="1283718"/>
                <a:ext cx="210185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earch Engine</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2821594" y="3492956"/>
              <a:ext cx="1542619" cy="861642"/>
              <a:chOff x="-1622918" y="2293895"/>
              <a:chExt cx="1542619" cy="861642"/>
            </a:xfrm>
          </p:grpSpPr>
          <p:sp>
            <p:nvSpPr>
              <p:cNvPr id="126" name="Rectangle 125"/>
              <p:cNvSpPr/>
              <p:nvPr/>
            </p:nvSpPr>
            <p:spPr>
              <a:xfrm>
                <a:off x="-1622918" y="27554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1328301" y="2293895"/>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grpSp>
      <p:cxnSp>
        <p:nvCxnSpPr>
          <p:cNvPr id="39" name="Straight Connector 38"/>
          <p:cNvCxnSpPr/>
          <p:nvPr/>
        </p:nvCxnSpPr>
        <p:spPr>
          <a:xfrm>
            <a:off x="2617680" y="3557570"/>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889951" y="3531752"/>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4981574" y="4030359"/>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2" name="Rectangle 41"/>
          <p:cNvSpPr/>
          <p:nvPr/>
        </p:nvSpPr>
        <p:spPr>
          <a:xfrm>
            <a:off x="5109480" y="3580702"/>
            <a:ext cx="1234633"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Affiliate</a:t>
            </a:r>
            <a:endParaRPr lang="en-US" sz="2400" dirty="0">
              <a:solidFill>
                <a:schemeClr val="bg1"/>
              </a:solidFill>
              <a:latin typeface="Glacial Indifference" charset="0"/>
              <a:ea typeface="Glacial Indifference" charset="0"/>
              <a:cs typeface="Glacial Indifference" charset="0"/>
            </a:endParaRPr>
          </a:p>
        </p:txBody>
      </p:sp>
      <p:sp>
        <p:nvSpPr>
          <p:cNvPr id="43" name="Rectangle 42"/>
          <p:cNvSpPr/>
          <p:nvPr/>
        </p:nvSpPr>
        <p:spPr>
          <a:xfrm>
            <a:off x="6328793" y="301077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US" sz="1000" dirty="0">
                <a:solidFill>
                  <a:schemeClr val="bg1"/>
                </a:solidFill>
                <a:latin typeface="Glacial Indifference" charset="0"/>
                <a:ea typeface="Glacial Indifference" charset="0"/>
                <a:cs typeface="Glacial Indifference" charset="0"/>
                <a:sym typeface="Montserrat Light"/>
              </a:rPr>
              <a:t>$</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6" name="Rectangle 45"/>
          <p:cNvSpPr/>
          <p:nvPr/>
        </p:nvSpPr>
        <p:spPr>
          <a:xfrm>
            <a:off x="6348916" y="2561120"/>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sp>
        <p:nvSpPr>
          <p:cNvPr id="53" name="TextBox 5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087300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ounded Rectangle 34"/>
          <p:cNvSpPr/>
          <p:nvPr/>
        </p:nvSpPr>
        <p:spPr>
          <a:xfrm>
            <a:off x="862290" y="1570647"/>
            <a:ext cx="7434917" cy="3192928"/>
          </a:xfrm>
          <a:prstGeom prst="round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1</a:t>
            </a:fld>
            <a:endParaRPr dirty="0">
              <a:solidFill>
                <a:schemeClr val="bg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2744819" y="-253490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l="-3641" t="-54045" r="-6836" b="-58626"/>
          <a:stretch/>
        </p:blipFill>
        <p:spPr>
          <a:xfrm>
            <a:off x="6198353" y="1861808"/>
            <a:ext cx="1502356" cy="323739"/>
          </a:xfrm>
          <a:prstGeom prst="rect">
            <a:avLst/>
          </a:prstGeom>
          <a:noFill/>
        </p:spPr>
      </p:pic>
      <p:grpSp>
        <p:nvGrpSpPr>
          <p:cNvPr id="121" name="Group 120"/>
          <p:cNvGrpSpPr/>
          <p:nvPr/>
        </p:nvGrpSpPr>
        <p:grpSpPr>
          <a:xfrm>
            <a:off x="1162874" y="1712685"/>
            <a:ext cx="6839358" cy="2778449"/>
            <a:chOff x="446813" y="1930278"/>
            <a:chExt cx="6839358" cy="2778449"/>
          </a:xfrm>
        </p:grpSpPr>
        <p:grpSp>
          <p:nvGrpSpPr>
            <p:cNvPr id="122" name="Group 121"/>
            <p:cNvGrpSpPr/>
            <p:nvPr/>
          </p:nvGrpSpPr>
          <p:grpSpPr>
            <a:xfrm>
              <a:off x="446813" y="1930278"/>
              <a:ext cx="6839358" cy="2778449"/>
              <a:chOff x="-64319" y="1209819"/>
              <a:chExt cx="8977771" cy="3647166"/>
            </a:xfrm>
          </p:grpSpPr>
          <p:cxnSp>
            <p:nvCxnSpPr>
              <p:cNvPr id="124" name="Shape 357"/>
              <p:cNvCxnSpPr/>
              <p:nvPr/>
            </p:nvCxnSpPr>
            <p:spPr>
              <a:xfrm flipV="1">
                <a:off x="1188589" y="3045976"/>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125" name="Shape 358"/>
              <p:cNvCxnSpPr/>
              <p:nvPr/>
            </p:nvCxnSpPr>
            <p:spPr>
              <a:xfrm flipH="1" flipV="1">
                <a:off x="4388311" y="1615625"/>
                <a:ext cx="6846" cy="3053571"/>
              </a:xfrm>
              <a:prstGeom prst="straightConnector1">
                <a:avLst/>
              </a:prstGeom>
              <a:noFill/>
              <a:ln w="9525" cap="flat" cmpd="sng">
                <a:solidFill>
                  <a:schemeClr val="bg1"/>
                </a:solidFill>
                <a:prstDash val="solid"/>
                <a:round/>
                <a:headEnd type="stealth" w="med" len="med"/>
                <a:tailEnd type="stealth" w="med" len="med"/>
              </a:ln>
            </p:spPr>
          </p:cxnSp>
          <p:sp>
            <p:nvSpPr>
              <p:cNvPr id="126" name="Shape 360"/>
              <p:cNvSpPr txBox="1"/>
              <p:nvPr/>
            </p:nvSpPr>
            <p:spPr>
              <a:xfrm>
                <a:off x="3725701" y="4549716"/>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7" name="Shape 361"/>
              <p:cNvSpPr txBox="1"/>
              <p:nvPr/>
            </p:nvSpPr>
            <p:spPr>
              <a:xfrm>
                <a:off x="-64319" y="2821607"/>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8" name="Shape 362"/>
              <p:cNvSpPr txBox="1"/>
              <p:nvPr/>
            </p:nvSpPr>
            <p:spPr>
              <a:xfrm>
                <a:off x="7574609" y="2773242"/>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9" name="Shape 359"/>
              <p:cNvSpPr txBox="1"/>
              <p:nvPr/>
            </p:nvSpPr>
            <p:spPr>
              <a:xfrm>
                <a:off x="3708946" y="1209819"/>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130" name="Shape 348"/>
              <p:cNvPicPr preferRelativeResize="0"/>
              <p:nvPr/>
            </p:nvPicPr>
            <p:blipFill>
              <a:blip r:embed="rId5">
                <a:alphaModFix/>
              </a:blip>
              <a:stretch>
                <a:fillRect/>
              </a:stretch>
            </p:blipFill>
            <p:spPr>
              <a:xfrm>
                <a:off x="5029936" y="2560667"/>
                <a:ext cx="577262" cy="577262"/>
              </a:xfrm>
              <a:prstGeom prst="rect">
                <a:avLst/>
              </a:prstGeom>
              <a:noFill/>
              <a:ln>
                <a:noFill/>
              </a:ln>
            </p:spPr>
          </p:pic>
          <p:pic>
            <p:nvPicPr>
              <p:cNvPr id="131" name="Shape 349" descr="Image result for classpass logo"/>
              <p:cNvPicPr preferRelativeResize="0"/>
              <p:nvPr/>
            </p:nvPicPr>
            <p:blipFill>
              <a:blip r:embed="rId6">
                <a:alphaModFix/>
              </a:blip>
              <a:stretch>
                <a:fillRect/>
              </a:stretch>
            </p:blipFill>
            <p:spPr>
              <a:xfrm>
                <a:off x="2984884" y="1843609"/>
                <a:ext cx="1124329" cy="318077"/>
              </a:xfrm>
              <a:prstGeom prst="rect">
                <a:avLst/>
              </a:prstGeom>
              <a:noFill/>
              <a:ln>
                <a:noFill/>
              </a:ln>
            </p:spPr>
          </p:pic>
          <p:pic>
            <p:nvPicPr>
              <p:cNvPr id="132" name="Shape 351" descr="Image result for peloton logo"/>
              <p:cNvPicPr preferRelativeResize="0"/>
              <p:nvPr/>
            </p:nvPicPr>
            <p:blipFill>
              <a:blip r:embed="rId7">
                <a:alphaModFix/>
              </a:blip>
              <a:stretch>
                <a:fillRect/>
              </a:stretch>
            </p:blipFill>
            <p:spPr>
              <a:xfrm>
                <a:off x="1439611" y="2533628"/>
                <a:ext cx="502430" cy="502429"/>
              </a:xfrm>
              <a:prstGeom prst="rect">
                <a:avLst/>
              </a:prstGeom>
              <a:noFill/>
              <a:ln>
                <a:noFill/>
              </a:ln>
            </p:spPr>
          </p:pic>
          <p:pic>
            <p:nvPicPr>
              <p:cNvPr id="133" name="Shape 352" descr="Image result for daily burn logo"/>
              <p:cNvPicPr preferRelativeResize="0"/>
              <p:nvPr/>
            </p:nvPicPr>
            <p:blipFill>
              <a:blip r:embed="rId8">
                <a:alphaModFix/>
              </a:blip>
              <a:stretch>
                <a:fillRect/>
              </a:stretch>
            </p:blipFill>
            <p:spPr>
              <a:xfrm>
                <a:off x="5005304" y="2978791"/>
                <a:ext cx="956657" cy="502429"/>
              </a:xfrm>
              <a:prstGeom prst="rect">
                <a:avLst/>
              </a:prstGeom>
              <a:noFill/>
              <a:ln>
                <a:noFill/>
              </a:ln>
            </p:spPr>
          </p:pic>
          <p:pic>
            <p:nvPicPr>
              <p:cNvPr id="135" name="Shape 354" descr="Image result for orange theory logo"/>
              <p:cNvPicPr preferRelativeResize="0"/>
              <p:nvPr/>
            </p:nvPicPr>
            <p:blipFill>
              <a:blip r:embed="rId9">
                <a:alphaModFix/>
              </a:blip>
              <a:stretch>
                <a:fillRect/>
              </a:stretch>
            </p:blipFill>
            <p:spPr>
              <a:xfrm>
                <a:off x="2012241" y="2648274"/>
                <a:ext cx="972642" cy="272653"/>
              </a:xfrm>
              <a:prstGeom prst="rect">
                <a:avLst/>
              </a:prstGeom>
              <a:noFill/>
              <a:ln>
                <a:noFill/>
              </a:ln>
            </p:spPr>
          </p:pic>
          <p:pic>
            <p:nvPicPr>
              <p:cNvPr id="136" name="Shape 355" descr="Image result for barrys bootcamp logo"/>
              <p:cNvPicPr preferRelativeResize="0"/>
              <p:nvPr/>
            </p:nvPicPr>
            <p:blipFill>
              <a:blip r:embed="rId10">
                <a:alphaModFix/>
                <a:lum bright="100000"/>
              </a:blip>
              <a:stretch>
                <a:fillRect/>
              </a:stretch>
            </p:blipFill>
            <p:spPr>
              <a:xfrm>
                <a:off x="3200946" y="2545368"/>
                <a:ext cx="943378" cy="315168"/>
              </a:xfrm>
              <a:prstGeom prst="rect">
                <a:avLst/>
              </a:prstGeom>
              <a:noFill/>
              <a:ln>
                <a:noFill/>
              </a:ln>
            </p:spPr>
          </p:pic>
          <p:pic>
            <p:nvPicPr>
              <p:cNvPr id="13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138" name="Shape 363"/>
              <p:cNvPicPr preferRelativeResize="0"/>
              <p:nvPr/>
            </p:nvPicPr>
            <p:blipFill>
              <a:blip r:embed="rId12">
                <a:alphaModFix/>
              </a:blip>
              <a:stretch>
                <a:fillRect/>
              </a:stretch>
            </p:blipFill>
            <p:spPr>
              <a:xfrm>
                <a:off x="4746827" y="2474957"/>
                <a:ext cx="333978" cy="318078"/>
              </a:xfrm>
              <a:prstGeom prst="rect">
                <a:avLst/>
              </a:prstGeom>
              <a:noFill/>
              <a:ln>
                <a:noFill/>
              </a:ln>
            </p:spPr>
          </p:pic>
          <p:pic>
            <p:nvPicPr>
              <p:cNvPr id="139" name="Shape 367"/>
              <p:cNvPicPr preferRelativeResize="0"/>
              <p:nvPr/>
            </p:nvPicPr>
            <p:blipFill rotWithShape="1">
              <a:blip r:embed="rId13">
                <a:alphaModFix/>
              </a:blip>
              <a:srcRect l="11948"/>
              <a:stretch/>
            </p:blipFill>
            <p:spPr>
              <a:xfrm>
                <a:off x="2469105" y="3110586"/>
                <a:ext cx="913566" cy="427765"/>
              </a:xfrm>
              <a:prstGeom prst="rect">
                <a:avLst/>
              </a:prstGeom>
              <a:noFill/>
              <a:ln>
                <a:noFill/>
              </a:ln>
            </p:spPr>
          </p:pic>
          <p:pic>
            <p:nvPicPr>
              <p:cNvPr id="140" name="Picture 139"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94634" y="3425393"/>
                <a:ext cx="590777" cy="569115"/>
              </a:xfrm>
              <a:prstGeom prst="rect">
                <a:avLst/>
              </a:prstGeom>
              <a:noFill/>
            </p:spPr>
          </p:pic>
          <p:pic>
            <p:nvPicPr>
              <p:cNvPr id="141"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142" name="Shape 350" descr="Image result for fit reserve logo"/>
              <p:cNvPicPr preferRelativeResize="0"/>
              <p:nvPr/>
            </p:nvPicPr>
            <p:blipFill>
              <a:blip r:embed="rId16">
                <a:alphaModFix/>
              </a:blip>
              <a:stretch>
                <a:fillRect/>
              </a:stretch>
            </p:blipFill>
            <p:spPr>
              <a:xfrm>
                <a:off x="1914179" y="2188043"/>
                <a:ext cx="1112676" cy="378929"/>
              </a:xfrm>
              <a:prstGeom prst="rect">
                <a:avLst/>
              </a:prstGeom>
              <a:noFill/>
              <a:ln>
                <a:noFill/>
              </a:ln>
            </p:spPr>
          </p:pic>
        </p:grpSp>
        <p:pic>
          <p:nvPicPr>
            <p:cNvPr id="123" name="Picture 12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20949" y="3572200"/>
              <a:ext cx="606792" cy="606792"/>
            </a:xfrm>
            <a:prstGeom prst="rect">
              <a:avLst/>
            </a:prstGeom>
          </p:spPr>
        </p:pic>
      </p:grpSp>
      <p:sp>
        <p:nvSpPr>
          <p:cNvPr id="143" name="TextBox 14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44" name="Picture 1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45" name="TextBox 144"/>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is more affordable and experiential than its competition</a:t>
            </a:r>
          </a:p>
        </p:txBody>
      </p:sp>
      <p:pic>
        <p:nvPicPr>
          <p:cNvPr id="4" name="Picture 3"/>
          <p:cNvPicPr>
            <a:picLocks noChangeAspect="1"/>
          </p:cNvPicPr>
          <p:nvPr/>
        </p:nvPicPr>
        <p:blipFill>
          <a:blip r:embed="rId18">
            <a:lum bright="100000"/>
          </a:blip>
          <a:stretch>
            <a:fillRect/>
          </a:stretch>
        </p:blipFill>
        <p:spPr>
          <a:xfrm>
            <a:off x="2387227" y="2236329"/>
            <a:ext cx="336388" cy="336388"/>
          </a:xfrm>
          <a:prstGeom prst="rect">
            <a:avLst/>
          </a:prstGeom>
        </p:spPr>
      </p:pic>
    </p:spTree>
    <p:extLst>
      <p:ext uri="{BB962C8B-B14F-4D97-AF65-F5344CB8AC3E}">
        <p14:creationId xmlns:p14="http://schemas.microsoft.com/office/powerpoint/2010/main" val="11207214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26" name="Rectangle 25"/>
          <p:cNvSpPr/>
          <p:nvPr/>
        </p:nvSpPr>
        <p:spPr>
          <a:xfrm>
            <a:off x="4861752" y="3877078"/>
            <a:ext cx="1188720" cy="990446"/>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7" name="Rectangle 26"/>
          <p:cNvSpPr/>
          <p:nvPr/>
        </p:nvSpPr>
        <p:spPr>
          <a:xfrm>
            <a:off x="6050471" y="3877078"/>
            <a:ext cx="2725849" cy="990446"/>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 name="Rectangle 17"/>
          <p:cNvSpPr/>
          <p:nvPr/>
        </p:nvSpPr>
        <p:spPr>
          <a:xfrm>
            <a:off x="4866015" y="1013270"/>
            <a:ext cx="1188720" cy="708413"/>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054734" y="1013270"/>
            <a:ext cx="2725849" cy="708414"/>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14061158"/>
              </p:ext>
            </p:extLst>
          </p:nvPr>
        </p:nvGraphicFramePr>
        <p:xfrm>
          <a:off x="4866015" y="1021314"/>
          <a:ext cx="3914568" cy="655948"/>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791">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2052">
                <a:tc>
                  <a:txBody>
                    <a:bodyPr/>
                    <a:lstStyle/>
                    <a:p>
                      <a:r>
                        <a:rPr lang="en-US" sz="700" b="1" dirty="0" smtClean="0">
                          <a:solidFill>
                            <a:schemeClr val="bg1"/>
                          </a:solidFill>
                          <a:latin typeface="Glacial Indifference" charset="0"/>
                          <a:ea typeface="Glacial Indifference" charset="0"/>
                          <a:cs typeface="Glacial Indifference" charset="0"/>
                        </a:rPr>
                        <a:t>Gyms on </a:t>
                      </a:r>
                      <a:r>
                        <a:rPr lang="en-US" sz="700" b="1" dirty="0" err="1" smtClean="0">
                          <a:solidFill>
                            <a:schemeClr val="bg1"/>
                          </a:solidFill>
                          <a:latin typeface="Glacial Indifference" charset="0"/>
                          <a:ea typeface="Glacial Indifference" charset="0"/>
                          <a:cs typeface="Glacial Indifference" charset="0"/>
                        </a:rPr>
                        <a:t>FlexIt</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0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3,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105">
                <a:tc>
                  <a:txBody>
                    <a:bodyPr/>
                    <a:lstStyle/>
                    <a:p>
                      <a:r>
                        <a:rPr lang="en-US" sz="700" b="1" dirty="0" smtClean="0">
                          <a:solidFill>
                            <a:schemeClr val="bg1"/>
                          </a:solidFill>
                          <a:latin typeface="Glacial Indifference" charset="0"/>
                          <a:ea typeface="Glacial Indifference" charset="0"/>
                          <a:cs typeface="Glacial Indifference" charset="0"/>
                        </a:rPr>
                        <a:t>Gyms Signed Up</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2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8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0</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Rectangle 8"/>
          <p:cNvSpPr/>
          <p:nvPr/>
        </p:nvSpPr>
        <p:spPr>
          <a:xfrm>
            <a:off x="339697" y="1012522"/>
            <a:ext cx="1191811" cy="3855002"/>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531509" y="1012522"/>
            <a:ext cx="3162197" cy="38550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p:cNvGraphicFramePr>
            <a:graphicFrameLocks noGrp="1"/>
          </p:cNvGraphicFramePr>
          <p:nvPr>
            <p:extLst>
              <p:ext uri="{D42A27DB-BD31-4B8C-83A1-F6EECF244321}">
                <p14:modId xmlns:p14="http://schemas.microsoft.com/office/powerpoint/2010/main" val="157877346"/>
              </p:ext>
            </p:extLst>
          </p:nvPr>
        </p:nvGraphicFramePr>
        <p:xfrm>
          <a:off x="339696" y="1012522"/>
          <a:ext cx="4354009" cy="3855428"/>
        </p:xfrm>
        <a:graphic>
          <a:graphicData uri="http://schemas.openxmlformats.org/drawingml/2006/table">
            <a:tbl>
              <a:tblPr/>
              <a:tblGrid>
                <a:gridCol w="77275"/>
                <a:gridCol w="1237944"/>
                <a:gridCol w="605398"/>
                <a:gridCol w="578303"/>
                <a:gridCol w="623484"/>
                <a:gridCol w="515051"/>
                <a:gridCol w="580104"/>
                <a:gridCol w="136450"/>
              </a:tblGrid>
              <a:tr h="96399">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6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55847">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1000" b="1" i="0" u="none" strike="noStrike" dirty="0" smtClean="0">
                          <a:solidFill>
                            <a:schemeClr val="bg1"/>
                          </a:solidFill>
                          <a:effectLst/>
                          <a:latin typeface="Glacial Indifference" charset="0"/>
                          <a:ea typeface="Glacial Indifference" charset="0"/>
                          <a:cs typeface="Glacial Indifference" charset="0"/>
                        </a:rPr>
                        <a:t>FLEXIT P&amp;L</a:t>
                      </a:r>
                      <a:endParaRPr lang="en-US" sz="10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05574">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r h="163319">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1" i="0" u="none" strike="noStrike" dirty="0">
                          <a:solidFill>
                            <a:schemeClr val="bg1"/>
                          </a:solidFill>
                          <a:effectLst/>
                          <a:latin typeface="Glacial Indifference" charset="0"/>
                          <a:ea typeface="Glacial Indifference" charset="0"/>
                          <a:cs typeface="Glacial Indifference" charset="0"/>
                        </a:rPr>
                        <a:t>FYE June</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19</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0</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1" i="0" u="none" strike="noStrike">
                          <a:solidFill>
                            <a:schemeClr val="tx1"/>
                          </a:solidFill>
                          <a:effectLst/>
                          <a:latin typeface="Glacial Indifference" charset="0"/>
                          <a:ea typeface="Glacial Indifference" charset="0"/>
                          <a:cs typeface="Glacial Indifference" charset="0"/>
                        </a:rPr>
                        <a:t>FY2021</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2</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3</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endParaRPr lang="is-IS"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12613">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Revenue</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83,686</a:t>
                      </a:r>
                    </a:p>
                  </a:txBody>
                  <a:tcPr marL="7411" marR="7411" marT="7411" marB="0" anchor="b">
                    <a:lnL>
                      <a:noFill/>
                    </a:lnL>
                    <a:lnR>
                      <a:noFill/>
                    </a:lnR>
                    <a:lnT>
                      <a:noFill/>
                    </a:lnT>
                    <a:lnB>
                      <a:noFill/>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1,451,549</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5,029,293</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10,967,885</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0,778,342</a:t>
                      </a:r>
                    </a:p>
                  </a:txBody>
                  <a:tcPr marL="7411" marR="7411" marT="7411" marB="0" anchor="b">
                    <a:lnL>
                      <a:noFill/>
                    </a:lnL>
                    <a:lnR>
                      <a:noFill/>
                    </a:lnR>
                    <a:lnT>
                      <a:noFill/>
                    </a:lnT>
                    <a:lnB>
                      <a:noFill/>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noFill/>
                  </a:tcPr>
                </a:tc>
                <a:tc>
                  <a:txBody>
                    <a:bodyPr/>
                    <a:lstStyle/>
                    <a:p>
                      <a:pPr algn="l" fontAlgn="b"/>
                      <a:r>
                        <a:rPr lang="en-US" sz="700" b="0" i="1" u="none" strike="noStrike">
                          <a:solidFill>
                            <a:schemeClr val="bg1"/>
                          </a:solidFill>
                          <a:effectLst/>
                          <a:latin typeface="Glacial Indifference" charset="0"/>
                          <a:ea typeface="Glacial Indifference" charset="0"/>
                          <a:cs typeface="Glacial Indifference" charset="0"/>
                        </a:rPr>
                        <a:t>Yr/Yr Growth</a:t>
                      </a:r>
                    </a:p>
                  </a:txBody>
                  <a:tcPr marL="44464" marR="7411" marT="7411" marB="0" anchor="b">
                    <a:lnL>
                      <a:noFill/>
                    </a:lnL>
                    <a:lnR>
                      <a:noFill/>
                    </a:lnR>
                    <a:lnT>
                      <a:noFill/>
                    </a:lnT>
                    <a:lnB>
                      <a:noFill/>
                    </a:lnB>
                    <a:noFill/>
                  </a:tcPr>
                </a:tc>
                <a:tc>
                  <a:txBody>
                    <a:bodyPr/>
                    <a:lstStyle/>
                    <a:p>
                      <a:pPr algn="l" fontAlgn="b"/>
                      <a:r>
                        <a:rPr lang="sk-SK" sz="700" b="0" i="1"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412%</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246%</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118%</a:t>
                      </a:r>
                    </a:p>
                  </a:txBody>
                  <a:tcPr marL="7411" marR="7411" marT="7411" marB="0" anchor="b">
                    <a:lnL>
                      <a:noFill/>
                    </a:lnL>
                    <a:lnR>
                      <a:noFill/>
                    </a:lnR>
                    <a:lnT>
                      <a:noFill/>
                    </a:lnT>
                    <a:lnB>
                      <a:noFill/>
                    </a:lnB>
                    <a:noFill/>
                  </a:tcPr>
                </a:tc>
                <a:tc>
                  <a:txBody>
                    <a:bodyPr/>
                    <a:lstStyle/>
                    <a:p>
                      <a:pPr algn="r" fontAlgn="b"/>
                      <a:r>
                        <a:rPr lang="it-IT" sz="700" b="0" i="1" u="none" strike="noStrike">
                          <a:solidFill>
                            <a:srgbClr val="000000"/>
                          </a:solidFill>
                          <a:effectLst/>
                          <a:latin typeface="Glacial Indifference" charset="0"/>
                          <a:ea typeface="Glacial Indifference" charset="0"/>
                          <a:cs typeface="Glacial Indifference" charset="0"/>
                        </a:rPr>
                        <a:t>89%</a:t>
                      </a:r>
                    </a:p>
                  </a:txBody>
                  <a:tcPr marL="7411" marR="7411" marT="7411" marB="0" anchor="b">
                    <a:lnL>
                      <a:noFill/>
                    </a:lnL>
                    <a:lnR>
                      <a:noFill/>
                    </a:lnR>
                    <a:lnT>
                      <a:noFill/>
                    </a:lnT>
                    <a:lnB>
                      <a:noFill/>
                    </a:lnB>
                    <a:noFill/>
                  </a:tcPr>
                </a:tc>
                <a:tc>
                  <a:txBody>
                    <a:bodyPr/>
                    <a:lstStyle/>
                    <a:p>
                      <a:pPr algn="r" fontAlgn="b"/>
                      <a:endParaRPr lang="it-IT"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Variable Costs</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Installation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6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2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80,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0</a:t>
                      </a:r>
                    </a:p>
                  </a:txBody>
                  <a:tcPr marL="7411" marR="7411" marT="7411" marB="0" anchor="b">
                    <a:lnL>
                      <a:noFill/>
                    </a:lnL>
                    <a:lnR>
                      <a:noFill/>
                    </a:lnR>
                    <a:lnT>
                      <a:noFill/>
                    </a:lnT>
                    <a:lnB>
                      <a:noFill/>
                    </a:lnB>
                    <a:noFill/>
                  </a:tcPr>
                </a:tc>
                <a:tc>
                  <a:txBody>
                    <a:bodyPr/>
                    <a:lstStyle/>
                    <a:p>
                      <a:pPr algn="r"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Gym Servicing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58,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97,2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88,0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646,8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209,600</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sng" strike="noStrike" dirty="0">
                          <a:solidFill>
                            <a:schemeClr val="bg1"/>
                          </a:solidFill>
                          <a:effectLst/>
                          <a:latin typeface="Glacial Indifference" charset="0"/>
                          <a:ea typeface="Glacial Indifference" charset="0"/>
                          <a:cs typeface="Glacial Indifference" charset="0"/>
                        </a:rPr>
                        <a:t>Credit Card Costs</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16,517</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9,785</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8,404</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73,921</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15,186</a:t>
                      </a:r>
                    </a:p>
                  </a:txBody>
                  <a:tcPr marL="7411" marR="7411" marT="7411" marB="0" anchor="b">
                    <a:lnL>
                      <a:noFill/>
                    </a:lnL>
                    <a:lnR>
                      <a:noFill/>
                    </a:lnR>
                    <a:lnT>
                      <a:noFill/>
                    </a:lnT>
                    <a:lnB>
                      <a:noFill/>
                    </a:lnB>
                    <a:noFill/>
                  </a:tcPr>
                </a:tc>
                <a:tc>
                  <a:txBody>
                    <a:bodyPr/>
                    <a:lstStyle/>
                    <a:p>
                      <a:pPr algn="r" fontAlgn="b"/>
                      <a:endParaRPr lang="fi-FI"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Total Variable Costs</a:t>
                      </a:r>
                    </a:p>
                  </a:txBody>
                  <a:tcPr marL="7411" marR="7411" marT="7411" marB="0" anchor="b">
                    <a:lnL>
                      <a:noFill/>
                    </a:lnL>
                    <a:lnR>
                      <a:noFill/>
                    </a:lnR>
                    <a:lnT>
                      <a:noFill/>
                    </a:lnT>
                    <a:lnB>
                      <a:noFill/>
                    </a:lnB>
                    <a:noFill/>
                  </a:tcPr>
                </a:tc>
                <a:tc>
                  <a:txBody>
                    <a:bodyPr/>
                    <a:lstStyle/>
                    <a:p>
                      <a:pPr algn="r" fontAlgn="b"/>
                      <a:r>
                        <a:rPr lang="uk-UA" sz="700" b="1" i="0" u="none" strike="noStrike">
                          <a:solidFill>
                            <a:srgbClr val="000000"/>
                          </a:solidFill>
                          <a:effectLst/>
                          <a:latin typeface="Glacial Indifference" charset="0"/>
                          <a:ea typeface="Glacial Indifference" charset="0"/>
                          <a:cs typeface="Glacial Indifference" charset="0"/>
                        </a:rPr>
                        <a:t>98,517</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6,985</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576,40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100,721</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964,786</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Marketing</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37,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257,05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542,013</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020,413</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1,830,448</a:t>
                      </a:r>
                    </a:p>
                  </a:txBody>
                  <a:tcPr marL="7411" marR="7411" marT="7411" marB="0" anchor="b">
                    <a:lnL>
                      <a:noFill/>
                    </a:lnL>
                    <a:lnR>
                      <a:noFill/>
                    </a:lnR>
                    <a:lnT>
                      <a:noFill/>
                    </a:lnT>
                    <a:lnB>
                      <a:noFill/>
                    </a:lnB>
                    <a:noFill/>
                  </a:tcPr>
                </a:tc>
                <a:tc>
                  <a:txBody>
                    <a:bodyPr/>
                    <a:lstStyle/>
                    <a:p>
                      <a:pPr algn="r" fontAlgn="b"/>
                      <a:endParaRPr lang="cs-CZ"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Salaries &amp; Benefi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35,750</a:t>
                      </a:r>
                    </a:p>
                  </a:txBody>
                  <a:tcPr marL="7411" marR="7411" marT="7411" marB="0" anchor="b">
                    <a:lnL>
                      <a:noFill/>
                    </a:lnL>
                    <a:lnR>
                      <a:noFill/>
                    </a:lnR>
                    <a:lnT>
                      <a:noFill/>
                    </a:lnT>
                    <a:lnB>
                      <a:noFill/>
                    </a:lnB>
                    <a:noFill/>
                  </a:tcPr>
                </a:tc>
                <a:tc>
                  <a:txBody>
                    <a:bodyPr/>
                    <a:lstStyle/>
                    <a:p>
                      <a:pPr algn="r" fontAlgn="b"/>
                      <a:r>
                        <a:rPr lang="it-IT" sz="700" b="0" i="0" u="none" strike="noStrike">
                          <a:solidFill>
                            <a:srgbClr val="000000"/>
                          </a:solidFill>
                          <a:effectLst/>
                          <a:latin typeface="Glacial Indifference" charset="0"/>
                          <a:ea typeface="Glacial Indifference" charset="0"/>
                          <a:cs typeface="Glacial Indifference" charset="0"/>
                        </a:rPr>
                        <a:t>1,681,3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3,149,333</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4,968,437</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6,995,059</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sng" strike="noStrike" dirty="0">
                          <a:solidFill>
                            <a:schemeClr val="bg1"/>
                          </a:solidFill>
                          <a:effectLst/>
                          <a:latin typeface="Glacial Indifference" charset="0"/>
                          <a:ea typeface="Glacial Indifference" charset="0"/>
                          <a:cs typeface="Glacial Indifference" charset="0"/>
                        </a:rPr>
                        <a:t>G&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69,12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4,640</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398,28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976,26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420,670</a:t>
                      </a:r>
                    </a:p>
                  </a:txBody>
                  <a:tcPr marL="7411" marR="7411" marT="7411" marB="0" anchor="b">
                    <a:lnL>
                      <a:noFill/>
                    </a:lnL>
                    <a:lnR>
                      <a:noFill/>
                    </a:lnR>
                    <a:lnT>
                      <a:noFill/>
                    </a:lnT>
                    <a:lnB>
                      <a:noFill/>
                    </a:lnB>
                    <a:noFill/>
                  </a:tcPr>
                </a:tc>
                <a:tc>
                  <a:txBody>
                    <a:bodyPr/>
                    <a:lstStyle/>
                    <a:p>
                      <a:pPr algn="r" fontAlgn="b"/>
                      <a:endParaRPr lang="is-IS"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Total 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441,870</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02,990</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4,089,625</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6,965,1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11,246,177</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BITD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56,701</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68,426</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363,26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902,05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7,567,379</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1" u="none" strike="noStrike" dirty="0">
                          <a:solidFill>
                            <a:schemeClr val="bg1"/>
                          </a:solidFill>
                          <a:effectLst/>
                          <a:latin typeface="Glacial Indifference" charset="0"/>
                          <a:ea typeface="Glacial Indifference" charset="0"/>
                          <a:cs typeface="Glacial Indifference" charset="0"/>
                        </a:rPr>
                        <a:t>Margin</a:t>
                      </a: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90.5%</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59.8%</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7.2%</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26.5%</a:t>
                      </a:r>
                    </a:p>
                  </a:txBody>
                  <a:tcPr marL="7411" marR="7411" marT="7411" marB="0" anchor="b">
                    <a:lnL>
                      <a:noFill/>
                    </a:lnL>
                    <a:lnR>
                      <a:noFill/>
                    </a:lnR>
                    <a:lnT>
                      <a:noFill/>
                    </a:lnT>
                    <a:lnB>
                      <a:noFill/>
                    </a:lnB>
                    <a:noFill/>
                  </a:tcPr>
                </a:tc>
                <a:tc>
                  <a:txBody>
                    <a:bodyPr/>
                    <a:lstStyle/>
                    <a:p>
                      <a:pPr algn="r" fontAlgn="b"/>
                      <a:r>
                        <a:rPr lang="hr-HR" sz="700" b="0" i="1" u="none" strike="noStrike" dirty="0">
                          <a:solidFill>
                            <a:srgbClr val="000000"/>
                          </a:solidFill>
                          <a:effectLst/>
                          <a:latin typeface="Glacial Indifference" charset="0"/>
                          <a:ea typeface="Glacial Indifference" charset="0"/>
                          <a:cs typeface="Glacial Indifference" charset="0"/>
                        </a:rPr>
                        <a:t>36.4%</a:t>
                      </a:r>
                    </a:p>
                  </a:txBody>
                  <a:tcPr marL="7411" marR="7411" marT="7411" marB="0" anchor="b">
                    <a:lnL>
                      <a:noFill/>
                    </a:lnL>
                    <a:lnR>
                      <a:noFill/>
                    </a:lnR>
                    <a:lnT>
                      <a:noFill/>
                    </a:lnT>
                    <a:lnB>
                      <a:noFill/>
                    </a:lnB>
                    <a:noFill/>
                  </a:tcPr>
                </a:tc>
                <a:tc>
                  <a:txBody>
                    <a:bodyPr/>
                    <a:lstStyle/>
                    <a:p>
                      <a:pPr algn="r" fontAlgn="b"/>
                      <a:endParaRPr lang="hr-HR"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none" strike="noStrike" dirty="0">
                          <a:solidFill>
                            <a:schemeClr val="bg1"/>
                          </a:solidFill>
                          <a:effectLst/>
                          <a:latin typeface="Glacial Indifference" charset="0"/>
                          <a:ea typeface="Glacial Indifference" charset="0"/>
                          <a:cs typeface="Glacial Indifference" charset="0"/>
                        </a:rPr>
                        <a:t>D&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dirty="0">
                          <a:solidFill>
                            <a:srgbClr val="000000"/>
                          </a:solidFill>
                          <a:effectLst/>
                          <a:latin typeface="Glacial Indifference" charset="0"/>
                          <a:ea typeface="Glacial Indifference" charset="0"/>
                          <a:cs typeface="Glacial Indifference" charset="0"/>
                        </a:rPr>
                        <a:t>12,707</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17,03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0,975</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19,344</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755</a:t>
                      </a:r>
                    </a:p>
                  </a:txBody>
                  <a:tcPr marL="7411" marR="7411" marT="7411" marB="0" anchor="b">
                    <a:lnL>
                      <a:noFill/>
                    </a:lnL>
                    <a:lnR>
                      <a:noFill/>
                    </a:lnR>
                    <a:lnT>
                      <a:noFill/>
                    </a:lnT>
                    <a:lnB>
                      <a:noFill/>
                    </a:lnB>
                    <a:noFill/>
                  </a:tcPr>
                </a:tc>
                <a:tc>
                  <a:txBody>
                    <a:bodyPr/>
                    <a:lstStyle/>
                    <a:p>
                      <a:pPr algn="r" fontAlgn="b"/>
                      <a:endParaRPr lang="fi-FI"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Operating Income</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69,408</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85,463</a:t>
                      </a:r>
                    </a:p>
                  </a:txBody>
                  <a:tcPr marL="7411" marR="7411" marT="7411" marB="0" anchor="b">
                    <a:lnL>
                      <a:noFill/>
                    </a:lnL>
                    <a:lnR>
                      <a:noFill/>
                    </a:lnR>
                    <a:lnT>
                      <a:noFill/>
                    </a:lnT>
                    <a:lnB>
                      <a:noFill/>
                    </a:lnB>
                    <a:noFill/>
                  </a:tcPr>
                </a:tc>
                <a:tc>
                  <a:txBody>
                    <a:bodyPr/>
                    <a:lstStyle/>
                    <a:p>
                      <a:pPr algn="r" fontAlgn="b"/>
                      <a:r>
                        <a:rPr lang="cs-CZ" sz="700" b="1" i="0" u="none" strike="noStrike">
                          <a:solidFill>
                            <a:srgbClr val="000000"/>
                          </a:solidFill>
                          <a:effectLst/>
                          <a:latin typeface="Glacial Indifference" charset="0"/>
                          <a:ea typeface="Glacial Indifference" charset="0"/>
                          <a:cs typeface="Glacial Indifference" charset="0"/>
                        </a:rPr>
                        <a:t>342,289</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882,7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7,551,623</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Taxes</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56,57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85,947</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71,881</a:t>
                      </a:r>
                    </a:p>
                  </a:txBody>
                  <a:tcPr marL="7411" marR="7411" marT="7411" marB="0" anchor="b">
                    <a:lnL>
                      <a:noFill/>
                    </a:lnL>
                    <a:lnR>
                      <a:noFill/>
                    </a:lnR>
                    <a:lnT>
                      <a:noFill/>
                    </a:lnT>
                    <a:lnB>
                      <a:noFill/>
                    </a:lnB>
                    <a:noFill/>
                  </a:tcPr>
                </a:tc>
                <a:tc>
                  <a:txBody>
                    <a:bodyPr/>
                    <a:lstStyle/>
                    <a:p>
                      <a:pPr algn="r" fontAlgn="b"/>
                      <a:r>
                        <a:rPr lang="is-IS" sz="700" b="0" i="0" u="none" strike="noStrike" dirty="0">
                          <a:solidFill>
                            <a:srgbClr val="000000"/>
                          </a:solidFill>
                          <a:effectLst/>
                          <a:latin typeface="Glacial Indifference" charset="0"/>
                          <a:ea typeface="Glacial Indifference" charset="0"/>
                          <a:cs typeface="Glacial Indifference" charset="0"/>
                        </a:rPr>
                        <a:t>605,369</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85,841</a:t>
                      </a:r>
                    </a:p>
                  </a:txBody>
                  <a:tcPr marL="7411" marR="7411" marT="7411" marB="0" anchor="b">
                    <a:lnL>
                      <a:noFill/>
                    </a:lnL>
                    <a:lnR>
                      <a:noFill/>
                    </a:lnR>
                    <a:lnT>
                      <a:noFill/>
                    </a:lnT>
                    <a:lnB>
                      <a:noFill/>
                    </a:lnB>
                    <a:noFill/>
                  </a:tcPr>
                </a:tc>
                <a:tc>
                  <a:txBody>
                    <a:bodyPr/>
                    <a:lstStyle/>
                    <a:p>
                      <a:pPr algn="r" fontAlgn="b"/>
                      <a:endParaRPr lang="fi-FI"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Income</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12,83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699,515</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70,408</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277,341</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5,965,78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r>
              <a:tr h="111261">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bl>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2</a:t>
            </a:fld>
            <a:endParaRPr dirty="0">
              <a:solidFill>
                <a:schemeClr val="bg1"/>
              </a:solidFill>
              <a:latin typeface="Montserrat"/>
              <a:ea typeface="Montserrat"/>
              <a:cs typeface="Montserrat"/>
              <a:sym typeface="Montserrat"/>
            </a:endParaRPr>
          </a:p>
        </p:txBody>
      </p:sp>
      <p:sp>
        <p:nvSpPr>
          <p:cNvPr id="52" name="TextBox 51"/>
          <p:cNvSpPr txBox="1"/>
          <p:nvPr/>
        </p:nvSpPr>
        <p:spPr>
          <a:xfrm>
            <a:off x="469076" y="409700"/>
            <a:ext cx="573552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By the numbers</a:t>
            </a:r>
            <a:endParaRPr lang="en-US" sz="2400" b="1" dirty="0">
              <a:solidFill>
                <a:schemeClr val="bg1"/>
              </a:solidFill>
              <a:latin typeface="Glacial Indifference" charset="0"/>
              <a:ea typeface="Glacial Indifference" charset="0"/>
              <a:cs typeface="Glacial Indifference" charset="0"/>
            </a:endParaRPr>
          </a:p>
        </p:txBody>
      </p:sp>
      <p:sp>
        <p:nvSpPr>
          <p:cNvPr id="19" name="TextBox 18"/>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21" name="Rectangle 20"/>
          <p:cNvSpPr/>
          <p:nvPr/>
        </p:nvSpPr>
        <p:spPr>
          <a:xfrm>
            <a:off x="4861752" y="2180733"/>
            <a:ext cx="1188720" cy="1251202"/>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050471" y="2180733"/>
            <a:ext cx="2725849" cy="12512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3" name="Table 22"/>
          <p:cNvGraphicFramePr>
            <a:graphicFrameLocks noGrp="1"/>
          </p:cNvGraphicFramePr>
          <p:nvPr>
            <p:extLst>
              <p:ext uri="{D42A27DB-BD31-4B8C-83A1-F6EECF244321}">
                <p14:modId xmlns:p14="http://schemas.microsoft.com/office/powerpoint/2010/main" val="96502324"/>
              </p:ext>
            </p:extLst>
          </p:nvPr>
        </p:nvGraphicFramePr>
        <p:xfrm>
          <a:off x="4866016" y="2185771"/>
          <a:ext cx="3914568" cy="1229062"/>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37522">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Beginn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New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7,35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9,45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0,71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a:solidFill>
                            <a:schemeClr val="tx1"/>
                          </a:solidFill>
                          <a:effectLst/>
                          <a:latin typeface="Glacial Indifference" charset="0"/>
                          <a:ea typeface="Glacial Indifference" charset="0"/>
                          <a:cs typeface="Glacial Indifference" charset="0"/>
                        </a:rPr>
                        <a:t>11,54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nd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44,239</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Average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3,44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8,35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700" b="0" i="0" u="none" strike="noStrike" dirty="0">
                          <a:solidFill>
                            <a:schemeClr val="tx1"/>
                          </a:solidFill>
                          <a:effectLst/>
                          <a:latin typeface="Glacial Indifference" charset="0"/>
                          <a:ea typeface="Glacial Indifference" charset="0"/>
                          <a:cs typeface="Glacial Indifference" charset="0"/>
                        </a:rPr>
                        <a:t>14,654</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79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29,49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335845611"/>
              </p:ext>
            </p:extLst>
          </p:nvPr>
        </p:nvGraphicFramePr>
        <p:xfrm>
          <a:off x="4861752" y="3870827"/>
          <a:ext cx="3914568" cy="996696"/>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168">
                <a:tc>
                  <a:txBody>
                    <a:bodyPr/>
                    <a:lstStyle/>
                    <a:p>
                      <a:r>
                        <a:rPr lang="en-US" sz="700" b="1" dirty="0" smtClean="0">
                          <a:solidFill>
                            <a:schemeClr val="bg1"/>
                          </a:solidFill>
                          <a:latin typeface="Glacial Indifference" charset="0"/>
                          <a:ea typeface="Glacial Indifference" charset="0"/>
                          <a:cs typeface="Glacial Indifference" charset="0"/>
                        </a:rPr>
                        <a:t>FYE JUNE</a:t>
                      </a:r>
                      <a:endParaRPr lang="en-US" sz="700" b="1" dirty="0">
                        <a:solidFill>
                          <a:schemeClr val="bg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Entry-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5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a:solidFill>
                            <a:schemeClr val="tx1"/>
                          </a:solidFill>
                          <a:effectLst/>
                          <a:latin typeface="Glacial Indifference" charset="0"/>
                          <a:ea typeface="Glacial Indifference" charset="0"/>
                          <a:cs typeface="Glacial Indifference" charset="0"/>
                        </a:rPr>
                        <a:t>2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Mid-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Premium-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dirty="0">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7304320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40" name="Picture 3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3</a:t>
            </a:fld>
            <a:endParaRPr dirty="0">
              <a:solidFill>
                <a:schemeClr val="bg1"/>
              </a:solidFill>
              <a:latin typeface="Montserrat"/>
              <a:ea typeface="Montserrat"/>
              <a:cs typeface="Montserrat"/>
              <a:sym typeface="Montserrat"/>
            </a:endParaRPr>
          </a:p>
        </p:txBody>
      </p:sp>
      <p:sp>
        <p:nvSpPr>
          <p:cNvPr id="37" name="Rectangle 36"/>
          <p:cNvSpPr/>
          <p:nvPr/>
        </p:nvSpPr>
        <p:spPr>
          <a:xfrm>
            <a:off x="367802" y="1087155"/>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Risks</a:t>
            </a:r>
            <a:endParaRPr lang="en-US" sz="1800" b="1" dirty="0">
              <a:solidFill>
                <a:schemeClr val="bg1"/>
              </a:solidFill>
              <a:latin typeface="Glacial Indifference" charset="0"/>
              <a:ea typeface="Glacial Indifference" charset="0"/>
              <a:cs typeface="Glacial Indifference" charset="0"/>
            </a:endParaRPr>
          </a:p>
        </p:txBody>
      </p:sp>
      <p:sp>
        <p:nvSpPr>
          <p:cNvPr id="39" name="Rectangle 38"/>
          <p:cNvSpPr/>
          <p:nvPr/>
        </p:nvSpPr>
        <p:spPr>
          <a:xfrm>
            <a:off x="5120639" y="1087155"/>
            <a:ext cx="3657601"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Mitigants</a:t>
            </a:r>
            <a:endParaRPr lang="en-US" sz="1800" b="1" dirty="0">
              <a:solidFill>
                <a:schemeClr val="bg1"/>
              </a:solidFill>
              <a:latin typeface="Glacial Indifference" charset="0"/>
              <a:ea typeface="Glacial Indifference" charset="0"/>
              <a:cs typeface="Glacial Indifference" charset="0"/>
            </a:endParaRPr>
          </a:p>
        </p:txBody>
      </p:sp>
      <p:cxnSp>
        <p:nvCxnSpPr>
          <p:cNvPr id="3" name="Straight Arrow Connector 2"/>
          <p:cNvCxnSpPr/>
          <p:nvPr/>
        </p:nvCxnSpPr>
        <p:spPr>
          <a:xfrm flipV="1">
            <a:off x="4206240" y="2479803"/>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4206240" y="3115565"/>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206240" y="3751327"/>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4206240" y="4387088"/>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206240" y="1844041"/>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48" name="TextBox 47"/>
          <p:cNvSpPr txBox="1"/>
          <p:nvPr/>
        </p:nvSpPr>
        <p:spPr>
          <a:xfrm>
            <a:off x="470743" y="417364"/>
            <a:ext cx="6698981" cy="461665"/>
          </a:xfrm>
          <a:prstGeom prst="rect">
            <a:avLst/>
          </a:prstGeom>
          <a:noFill/>
        </p:spPr>
        <p:txBody>
          <a:bodyPr wrap="square" rtlCol="0">
            <a:spAutoFit/>
          </a:bodyPr>
          <a:lstStyle/>
          <a:p>
            <a:pPr lvl="0">
              <a:tabLst>
                <a:tab pos="1306513" algn="l"/>
              </a:tabLst>
            </a:pPr>
            <a:r>
              <a:rPr lang="en-US" sz="2400" b="1" dirty="0">
                <a:solidFill>
                  <a:schemeClr val="bg1"/>
                </a:solidFill>
                <a:latin typeface="Glacial Indifference" charset="0"/>
                <a:ea typeface="Glacial Indifference" charset="0"/>
                <a:cs typeface="Glacial Indifference" charset="0"/>
                <a:sym typeface="Montserrat Medium"/>
              </a:rPr>
              <a:t>What about the platform’s risks?</a:t>
            </a:r>
          </a:p>
        </p:txBody>
      </p:sp>
      <p:graphicFrame>
        <p:nvGraphicFramePr>
          <p:cNvPr id="2" name="Table 1"/>
          <p:cNvGraphicFramePr>
            <a:graphicFrameLocks noGrp="1"/>
          </p:cNvGraphicFramePr>
          <p:nvPr>
            <p:extLst>
              <p:ext uri="{D42A27DB-BD31-4B8C-83A1-F6EECF244321}">
                <p14:modId xmlns:p14="http://schemas.microsoft.com/office/powerpoint/2010/main" val="1081940618"/>
              </p:ext>
            </p:extLst>
          </p:nvPr>
        </p:nvGraphicFramePr>
        <p:xfrm>
          <a:off x="367801" y="1521629"/>
          <a:ext cx="3657601" cy="3200400"/>
        </p:xfrm>
        <a:graphic>
          <a:graphicData uri="http://schemas.openxmlformats.org/drawingml/2006/table">
            <a:tbl>
              <a:tblPr firstRow="1" bandRow="1">
                <a:tableStyleId>{2410BEE1-E9ED-4D79-A2C4-AF8B92BEA772}</a:tableStyleId>
              </a:tblPr>
              <a:tblGrid>
                <a:gridCol w="3657601"/>
              </a:tblGrid>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Consumers are saturated by other fitness related services and may be resistant to adopt FLEXIT</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Gyms are resistant to adopting FLEXIT because it may cannibalize membership-base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algn="r"/>
                      <a:r>
                        <a:rPr lang="en-US" sz="1200" dirty="0" smtClean="0">
                          <a:solidFill>
                            <a:schemeClr val="bg1"/>
                          </a:solidFill>
                          <a:latin typeface="Glacial Indifference" charset="0"/>
                          <a:ea typeface="Glacial Indifference" charset="0"/>
                          <a:cs typeface="Glacial Indifference" charset="0"/>
                        </a:rPr>
                        <a:t>Gyms are resistant to working with a new player in the space</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Low barriers to entry increases competition</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algn="r"/>
                      <a:r>
                        <a:rPr lang="en-US" sz="1200" dirty="0" smtClean="0">
                          <a:solidFill>
                            <a:schemeClr val="bg1"/>
                          </a:solidFill>
                          <a:latin typeface="Glacial Indifference" charset="0"/>
                          <a:ea typeface="Glacial Indifference" charset="0"/>
                          <a:cs typeface="Glacial Indifference" charset="0"/>
                        </a:rPr>
                        <a:t>Increasingly noisy ecosystem</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B5B5B6">
                        <a:alpha val="70000"/>
                      </a:srgbClr>
                    </a:solidFill>
                  </a:tcPr>
                </a:tc>
              </a:tr>
            </a:tbl>
          </a:graphicData>
        </a:graphic>
      </p:graphicFrame>
      <p:graphicFrame>
        <p:nvGraphicFramePr>
          <p:cNvPr id="30" name="Table 29"/>
          <p:cNvGraphicFramePr>
            <a:graphicFrameLocks noGrp="1"/>
          </p:cNvGraphicFramePr>
          <p:nvPr>
            <p:extLst>
              <p:ext uri="{D42A27DB-BD31-4B8C-83A1-F6EECF244321}">
                <p14:modId xmlns:p14="http://schemas.microsoft.com/office/powerpoint/2010/main" val="1652134059"/>
              </p:ext>
            </p:extLst>
          </p:nvPr>
        </p:nvGraphicFramePr>
        <p:xfrm>
          <a:off x="5120639" y="1531602"/>
          <a:ext cx="3657601" cy="3200400"/>
        </p:xfrm>
        <a:graphic>
          <a:graphicData uri="http://schemas.openxmlformats.org/drawingml/2006/table">
            <a:tbl>
              <a:tblPr bandRow="1">
                <a:tableStyleId>{2410BEE1-E9ED-4D79-A2C4-AF8B92BEA772}</a:tableStyleId>
              </a:tblPr>
              <a:tblGrid>
                <a:gridCol w="3657601"/>
              </a:tblGrid>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ustomer acquisition strategy is designed to promote its value proposition using a comprehensive approach</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 is designed to bring new users and prospective members that will offset losses in membership</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orporate team has deep industry success, expertise and C-level relationships at the biggest national gym chains in the country</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ompetitive advantage is its deep industry relationships,</a:t>
                      </a:r>
                      <a:r>
                        <a:rPr lang="en-US" sz="1200" baseline="0" dirty="0" smtClean="0">
                          <a:solidFill>
                            <a:schemeClr val="bg1"/>
                          </a:solidFill>
                          <a:latin typeface="Glacial Indifference" charset="0"/>
                          <a:ea typeface="Glacial Indifference" charset="0"/>
                          <a:cs typeface="Glacial Indifference" charset="0"/>
                        </a:rPr>
                        <a:t> </a:t>
                      </a:r>
                      <a:r>
                        <a:rPr lang="en-US" sz="1200" dirty="0" smtClean="0">
                          <a:solidFill>
                            <a:schemeClr val="bg1"/>
                          </a:solidFill>
                          <a:latin typeface="Glacial Indifference" charset="0"/>
                          <a:ea typeface="Glacial Indifference" charset="0"/>
                          <a:cs typeface="Glacial Indifference" charset="0"/>
                        </a:rPr>
                        <a:t>existing soft commitments and industry knowledge</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FLEXIT fills a niche segment of the market and an untapped need</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00B4D2">
                        <a:alpha val="70000"/>
                      </a:srgbClr>
                    </a:solidFill>
                  </a:tcPr>
                </a:tc>
              </a:tr>
            </a:tbl>
          </a:graphicData>
        </a:graphic>
      </p:graphicFrame>
    </p:spTree>
    <p:extLst>
      <p:ext uri="{BB962C8B-B14F-4D97-AF65-F5344CB8AC3E}">
        <p14:creationId xmlns:p14="http://schemas.microsoft.com/office/powerpoint/2010/main" val="11697468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26" name="Picture 2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5" name="Rectangle 34"/>
          <p:cNvSpPr/>
          <p:nvPr/>
        </p:nvSpPr>
        <p:spPr>
          <a:xfrm>
            <a:off x="4144061" y="1126141"/>
            <a:ext cx="4632294" cy="3882978"/>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4</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6344" y="415814"/>
            <a:ext cx="5467800" cy="469734"/>
          </a:xfrm>
          <a:prstGeom prst="rect">
            <a:avLst/>
          </a:prstGeom>
          <a:noFill/>
          <a:ln>
            <a:noFill/>
          </a:ln>
        </p:spPr>
        <p:txBody>
          <a:bodyPr spcFirstLastPara="1" wrap="square" lIns="91425" tIns="45720"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Investment Detail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 name="TextBox 1"/>
          <p:cNvSpPr txBox="1"/>
          <p:nvPr/>
        </p:nvSpPr>
        <p:spPr>
          <a:xfrm>
            <a:off x="5598594" y="1294491"/>
            <a:ext cx="1838965" cy="369332"/>
          </a:xfrm>
          <a:prstGeom prst="rect">
            <a:avLst/>
          </a:prstGeom>
          <a:noFill/>
        </p:spPr>
        <p:txBody>
          <a:bodyPr wrap="none" rtlCol="0">
            <a:spAutoFit/>
          </a:bodyPr>
          <a:lstStyle/>
          <a:p>
            <a:pPr algn="ctr"/>
            <a:r>
              <a:rPr lang="en-US" sz="1800" b="1" dirty="0" smtClean="0">
                <a:solidFill>
                  <a:schemeClr val="bg1"/>
                </a:solidFill>
                <a:latin typeface="Glacial Indifference" charset="0"/>
                <a:ea typeface="Glacial Indifference" charset="0"/>
                <a:cs typeface="Glacial Indifference" charset="0"/>
              </a:rPr>
              <a:t>Uses of Capital</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9" name="Content Placeholder 4"/>
          <p:cNvGraphicFramePr>
            <a:graphicFrameLocks/>
          </p:cNvGraphicFramePr>
          <p:nvPr>
            <p:extLst>
              <p:ext uri="{D42A27DB-BD31-4B8C-83A1-F6EECF244321}">
                <p14:modId xmlns:p14="http://schemas.microsoft.com/office/powerpoint/2010/main" val="561578209"/>
              </p:ext>
            </p:extLst>
          </p:nvPr>
        </p:nvGraphicFramePr>
        <p:xfrm>
          <a:off x="4132185" y="1865234"/>
          <a:ext cx="4644170" cy="3200400"/>
        </p:xfrm>
        <a:graphic>
          <a:graphicData uri="http://schemas.openxmlformats.org/drawingml/2006/table">
            <a:tbl>
              <a:tblPr bandRow="1">
                <a:tableStyleId>{2D5ABB26-0587-4C30-8999-92F81FD0307C}</a:tableStyleId>
              </a:tblPr>
              <a:tblGrid>
                <a:gridCol w="217466"/>
                <a:gridCol w="773244"/>
                <a:gridCol w="1486227"/>
                <a:gridCol w="2167233"/>
              </a:tblGrid>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72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Technolo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onsumer App</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blet</a:t>
                      </a:r>
                      <a:r>
                        <a:rPr lang="en-US" baseline="0" dirty="0" smtClean="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App/Admin Pane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14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R/Market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Launch/Ongoing PR</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rgeted</a:t>
                      </a:r>
                      <a:r>
                        <a:rPr lang="en-US" baseline="0" dirty="0" smtClean="0">
                          <a:solidFill>
                            <a:schemeClr val="bg1"/>
                          </a:solidFill>
                          <a:latin typeface="Glacial Indifference" charset="0"/>
                          <a:ea typeface="Glacial Indifference" charset="0"/>
                          <a:cs typeface="Glacial Indifference" charset="0"/>
                        </a:rPr>
                        <a:t> Digital Strate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53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Working Capita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purchase</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Inventory &amp; Storag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235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ersonnel/Ops</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TO; COO; Biz</a:t>
                      </a:r>
                      <a:r>
                        <a:rPr lang="en-US" baseline="0" dirty="0" smtClean="0">
                          <a:solidFill>
                            <a:schemeClr val="bg1"/>
                          </a:solidFill>
                          <a:latin typeface="Glacial Indifference" charset="0"/>
                          <a:ea typeface="Glacial Indifference" charset="0"/>
                          <a:cs typeface="Glacial Indifference" charset="0"/>
                        </a:rPr>
                        <a:t> Dev</a:t>
                      </a:r>
                      <a:endParaRPr lang="en-US" dirty="0" smtClean="0">
                        <a:solidFill>
                          <a:schemeClr val="bg1"/>
                        </a:solidFill>
                        <a:latin typeface="Glacial Indifference" charset="0"/>
                        <a:ea typeface="Glacial Indifference" charset="0"/>
                        <a:cs typeface="Glacial Indifference" charset="0"/>
                      </a:endParaRP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a:t>
                      </a:r>
                      <a:r>
                        <a:rPr lang="en-US" baseline="0" dirty="0" smtClean="0">
                          <a:solidFill>
                            <a:schemeClr val="bg1"/>
                          </a:solidFill>
                          <a:latin typeface="Glacial Indifference" charset="0"/>
                          <a:ea typeface="Glacial Indifference" charset="0"/>
                          <a:cs typeface="Glacial Indifference" charset="0"/>
                        </a:rPr>
                        <a:t> Train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b="1" dirty="0" smtClean="0">
                          <a:solidFill>
                            <a:schemeClr val="bg1"/>
                          </a:solidFill>
                          <a:latin typeface="Glacial Indifference" charset="0"/>
                          <a:ea typeface="Glacial Indifference" charset="0"/>
                          <a:cs typeface="Glacial Indifference" charset="0"/>
                        </a:rPr>
                        <a:t>$50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grpSp>
        <p:nvGrpSpPr>
          <p:cNvPr id="6" name="Group 5"/>
          <p:cNvGrpSpPr/>
          <p:nvPr/>
        </p:nvGrpSpPr>
        <p:grpSpPr>
          <a:xfrm>
            <a:off x="342900" y="1135452"/>
            <a:ext cx="3631996" cy="3873666"/>
            <a:chOff x="336817" y="1135452"/>
            <a:chExt cx="3710711" cy="3873666"/>
          </a:xfrm>
        </p:grpSpPr>
        <p:sp>
          <p:nvSpPr>
            <p:cNvPr id="29" name="Rectangle 28"/>
            <p:cNvSpPr/>
            <p:nvPr/>
          </p:nvSpPr>
          <p:spPr>
            <a:xfrm>
              <a:off x="336817" y="1135452"/>
              <a:ext cx="3645556" cy="3873666"/>
            </a:xfrm>
            <a:prstGeom prst="rect">
              <a:avLst/>
            </a:prstGeom>
            <a:solidFill>
              <a:srgbClr val="A5A5A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467739" y="1322058"/>
              <a:ext cx="1383712" cy="369332"/>
            </a:xfrm>
            <a:prstGeom prst="rect">
              <a:avLst/>
            </a:prstGeom>
            <a:noFill/>
          </p:spPr>
          <p:txBody>
            <a:bodyPr wrap="none" rtlCol="0">
              <a:spAutoFit/>
            </a:bodyPr>
            <a:lstStyle/>
            <a:p>
              <a:r>
                <a:rPr lang="en-US" sz="1800" b="1" dirty="0" smtClean="0">
                  <a:solidFill>
                    <a:schemeClr val="bg1"/>
                  </a:solidFill>
                  <a:latin typeface="Glacial Indifference" charset="0"/>
                  <a:ea typeface="Glacial Indifference" charset="0"/>
                  <a:cs typeface="Glacial Indifference" charset="0"/>
                </a:rPr>
                <a:t>Deal Terms</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6" name="Content Placeholder 4"/>
            <p:cNvGraphicFramePr>
              <a:graphicFrameLocks/>
            </p:cNvGraphicFramePr>
            <p:nvPr>
              <p:extLst>
                <p:ext uri="{D42A27DB-BD31-4B8C-83A1-F6EECF244321}">
                  <p14:modId xmlns:p14="http://schemas.microsoft.com/office/powerpoint/2010/main" val="1457989669"/>
                </p:ext>
              </p:extLst>
            </p:nvPr>
          </p:nvGraphicFramePr>
          <p:xfrm>
            <a:off x="336817" y="1874070"/>
            <a:ext cx="3710711" cy="2560320"/>
          </p:xfrm>
          <a:graphic>
            <a:graphicData uri="http://schemas.openxmlformats.org/drawingml/2006/table">
              <a:tbl>
                <a:tblPr bandRow="1">
                  <a:tableStyleId>{2D5ABB26-0587-4C30-8999-92F81FD0307C}</a:tableStyleId>
                </a:tblPr>
                <a:tblGrid>
                  <a:gridCol w="274320"/>
                  <a:gridCol w="1512862"/>
                  <a:gridCol w="1844814"/>
                </a:tblGrid>
                <a:tr h="64008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r>
                          <a:rPr lang="en-US" b="1" dirty="0" smtClean="0">
                            <a:solidFill>
                              <a:schemeClr val="bg1"/>
                            </a:solidFill>
                            <a:latin typeface="Glacial Indifference" charset="0"/>
                            <a:ea typeface="Glacial Indifference" charset="0"/>
                            <a:cs typeface="Glacial Indifference" charset="0"/>
                          </a:rPr>
                          <a:t>Raise</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Up to $500K</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92024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36" name="Straight Connector 35"/>
            <p:cNvCxnSpPr/>
            <p:nvPr/>
          </p:nvCxnSpPr>
          <p:spPr>
            <a:xfrm>
              <a:off x="574332" y="1762370"/>
              <a:ext cx="315696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37" name="Straight Connector 36"/>
          <p:cNvCxnSpPr/>
          <p:nvPr/>
        </p:nvCxnSpPr>
        <p:spPr>
          <a:xfrm>
            <a:off x="4748755" y="1762370"/>
            <a:ext cx="362102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124838" y="4442286"/>
            <a:ext cx="4651517" cy="0"/>
          </a:xfrm>
          <a:prstGeom prst="line">
            <a:avLst/>
          </a:prstGeom>
          <a:ln w="9525">
            <a:solidFill>
              <a:srgbClr val="252525"/>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7" name="Rectangle 6"/>
          <p:cNvSpPr/>
          <p:nvPr/>
        </p:nvSpPr>
        <p:spPr>
          <a:xfrm>
            <a:off x="484712" y="2672770"/>
            <a:ext cx="3193703" cy="1569660"/>
          </a:xfrm>
          <a:prstGeom prst="rect">
            <a:avLst/>
          </a:prstGeom>
        </p:spPr>
        <p:txBody>
          <a:bodyPr wrap="square">
            <a:spAutoFit/>
          </a:bodyPr>
          <a:lstStyle/>
          <a:p>
            <a:pPr algn="ctr"/>
            <a:r>
              <a:rPr lang="en-US" sz="1600" dirty="0">
                <a:solidFill>
                  <a:schemeClr val="bg1"/>
                </a:solidFill>
                <a:latin typeface="Glacial Indifference" charset="0"/>
                <a:ea typeface="Glacial Indifference" charset="0"/>
                <a:cs typeface="Glacial Indifference" charset="0"/>
              </a:rPr>
              <a:t>FLEXIT is seeking funding to support the growth of its business. </a:t>
            </a:r>
            <a:r>
              <a:rPr lang="en-US" sz="1600" dirty="0" smtClean="0">
                <a:solidFill>
                  <a:schemeClr val="bg1"/>
                </a:solidFill>
                <a:latin typeface="Glacial Indifference" charset="0"/>
                <a:ea typeface="Glacial Indifference" charset="0"/>
                <a:cs typeface="Glacial Indifference" charset="0"/>
              </a:rPr>
              <a:t>FLEXIT needs $100K </a:t>
            </a:r>
            <a:r>
              <a:rPr lang="en-US" sz="1600" dirty="0">
                <a:solidFill>
                  <a:schemeClr val="bg1"/>
                </a:solidFill>
                <a:latin typeface="Glacial Indifference" charset="0"/>
                <a:ea typeface="Glacial Indifference" charset="0"/>
                <a:cs typeface="Glacial Indifference" charset="0"/>
              </a:rPr>
              <a:t>to launch this summer, and </a:t>
            </a:r>
            <a:r>
              <a:rPr lang="en-US" sz="1600" dirty="0" smtClean="0">
                <a:solidFill>
                  <a:schemeClr val="bg1"/>
                </a:solidFill>
                <a:latin typeface="Glacial Indifference" charset="0"/>
                <a:ea typeface="Glacial Indifference" charset="0"/>
                <a:cs typeface="Glacial Indifference" charset="0"/>
              </a:rPr>
              <a:t>an </a:t>
            </a:r>
            <a:r>
              <a:rPr lang="en-US" sz="1600" dirty="0">
                <a:solidFill>
                  <a:schemeClr val="bg1"/>
                </a:solidFill>
                <a:latin typeface="Glacial Indifference" charset="0"/>
                <a:ea typeface="Glacial Indifference" charset="0"/>
                <a:cs typeface="Glacial Indifference" charset="0"/>
              </a:rPr>
              <a:t>additional </a:t>
            </a:r>
            <a:r>
              <a:rPr lang="en-US" sz="1600" dirty="0" smtClean="0">
                <a:solidFill>
                  <a:schemeClr val="bg1"/>
                </a:solidFill>
                <a:latin typeface="Glacial Indifference" charset="0"/>
                <a:ea typeface="Glacial Indifference" charset="0"/>
                <a:cs typeface="Glacial Indifference" charset="0"/>
              </a:rPr>
              <a:t>$400K </a:t>
            </a:r>
            <a:r>
              <a:rPr lang="en-US" sz="1600" dirty="0">
                <a:solidFill>
                  <a:schemeClr val="bg1"/>
                </a:solidFill>
                <a:latin typeface="Glacial Indifference" charset="0"/>
                <a:ea typeface="Glacial Indifference" charset="0"/>
                <a:cs typeface="Glacial Indifference" charset="0"/>
              </a:rPr>
              <a:t>for its </a:t>
            </a:r>
            <a:r>
              <a:rPr lang="en-US" sz="1600" dirty="0" smtClean="0">
                <a:solidFill>
                  <a:schemeClr val="bg1"/>
                </a:solidFill>
                <a:latin typeface="Glacial Indifference" charset="0"/>
                <a:ea typeface="Glacial Indifference" charset="0"/>
                <a:cs typeface="Glacial Indifference" charset="0"/>
              </a:rPr>
              <a:t>first 12 </a:t>
            </a:r>
            <a:r>
              <a:rPr lang="en-US" sz="1600" dirty="0">
                <a:solidFill>
                  <a:schemeClr val="bg1"/>
                </a:solidFill>
                <a:latin typeface="Glacial Indifference" charset="0"/>
                <a:ea typeface="Glacial Indifference" charset="0"/>
                <a:cs typeface="Glacial Indifference" charset="0"/>
              </a:rPr>
              <a:t>months of </a:t>
            </a:r>
            <a:r>
              <a:rPr lang="en-US" sz="1600" dirty="0" smtClean="0">
                <a:solidFill>
                  <a:schemeClr val="bg1"/>
                </a:solidFill>
                <a:latin typeface="Glacial Indifference" charset="0"/>
                <a:ea typeface="Glacial Indifference" charset="0"/>
                <a:cs typeface="Glacial Indifference" charset="0"/>
              </a:rPr>
              <a:t>operations. </a:t>
            </a:r>
            <a:endParaRPr lang="en-US" sz="16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4817541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106938" y="130942"/>
            <a:ext cx="9159498" cy="5143500"/>
          </a:xfrm>
          <a:prstGeom prst="rect">
            <a:avLst/>
          </a:prstGeom>
        </p:spPr>
      </p:pic>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5</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9077" y="411480"/>
            <a:ext cx="5467800" cy="577500"/>
          </a:xfrm>
          <a:prstGeom prst="rect">
            <a:avLst/>
          </a:prstGeom>
          <a:noFill/>
          <a:ln>
            <a:noFill/>
          </a:ln>
        </p:spPr>
        <p:txBody>
          <a:bodyPr spcFirstLastPara="1" wrap="square" lIns="91425" tIns="45720" rIns="91425" bIns="45720"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Mission &amp; Vision</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4" name="TextBox 3"/>
          <p:cNvSpPr txBox="1"/>
          <p:nvPr/>
        </p:nvSpPr>
        <p:spPr>
          <a:xfrm>
            <a:off x="1377772" y="1968291"/>
            <a:ext cx="6394625" cy="1200329"/>
          </a:xfrm>
          <a:prstGeom prst="rect">
            <a:avLst/>
          </a:prstGeom>
          <a:noFill/>
        </p:spPr>
        <p:txBody>
          <a:bodyPr wrap="square" rtlCol="0">
            <a:spAutoFit/>
          </a:bodyPr>
          <a:lstStyle/>
          <a:p>
            <a:pPr algn="ctr"/>
            <a:r>
              <a:rPr lang="en-US" sz="1800" dirty="0">
                <a:solidFill>
                  <a:schemeClr val="bg1"/>
                </a:solidFill>
                <a:latin typeface="Glacial Indifference" charset="0"/>
                <a:ea typeface="Glacial Indifference" charset="0"/>
                <a:cs typeface="Glacial Indifference" charset="0"/>
              </a:rPr>
              <a:t>FLEXIT’s mission is to make fitness more accessible. FLEXIT will enable more individuals to workout where they want, when they want. FLEXIT will accrue more minute across its platform than the largest grossing individual gym chain in the country.</a:t>
            </a:r>
          </a:p>
        </p:txBody>
      </p:sp>
      <p:sp>
        <p:nvSpPr>
          <p:cNvPr id="11" name="TextBox 10"/>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12" name="Picture 11"/>
          <p:cNvPicPr>
            <a:picLocks/>
          </p:cNvPicPr>
          <p:nvPr/>
        </p:nvPicPr>
        <p:blipFill>
          <a:blip r:embed="rId5">
            <a:extLst>
              <a:ext uri="{28A0092B-C50C-407E-A947-70E740481C1C}">
                <a14:useLocalDpi xmlns:a14="http://schemas.microsoft.com/office/drawing/2010/main" val="0"/>
              </a:ext>
            </a:extLst>
          </a:blip>
          <a:stretch>
            <a:fillRect/>
          </a:stretch>
        </p:blipFill>
        <p:spPr>
          <a:xfrm>
            <a:off x="2968752" y="1315116"/>
            <a:ext cx="3206496" cy="18288"/>
          </a:xfrm>
          <a:prstGeom prst="rect">
            <a:avLst/>
          </a:prstGeom>
        </p:spPr>
      </p:pic>
      <p:pic>
        <p:nvPicPr>
          <p:cNvPr id="14" name="Picture 13"/>
          <p:cNvPicPr>
            <a:picLocks/>
          </p:cNvPicPr>
          <p:nvPr/>
        </p:nvPicPr>
        <p:blipFill>
          <a:blip r:embed="rId5">
            <a:extLst>
              <a:ext uri="{28A0092B-C50C-407E-A947-70E740481C1C}">
                <a14:useLocalDpi xmlns:a14="http://schemas.microsoft.com/office/drawing/2010/main" val="0"/>
              </a:ext>
            </a:extLst>
          </a:blip>
          <a:stretch>
            <a:fillRect/>
          </a:stretch>
        </p:blipFill>
        <p:spPr>
          <a:xfrm>
            <a:off x="2968753" y="3781806"/>
            <a:ext cx="3206496" cy="18288"/>
          </a:xfrm>
          <a:prstGeom prst="rect">
            <a:avLst/>
          </a:prstGeom>
        </p:spPr>
      </p:pic>
    </p:spTree>
    <p:extLst>
      <p:ext uri="{BB962C8B-B14F-4D97-AF65-F5344CB8AC3E}">
        <p14:creationId xmlns:p14="http://schemas.microsoft.com/office/powerpoint/2010/main" val="5373433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7" name="Shape 414"/>
          <p:cNvSpPr/>
          <p:nvPr/>
        </p:nvSpPr>
        <p:spPr>
          <a:xfrm rot="10800000" flipH="1">
            <a:off x="3070444" y="0"/>
            <a:ext cx="6089904" cy="5143500"/>
          </a:xfrm>
          <a:prstGeom prst="round2SameRect">
            <a:avLst>
              <a:gd name="adj1" fmla="val 0"/>
              <a:gd name="adj2" fmla="val 0"/>
            </a:avLst>
          </a:prstGeom>
          <a:solidFill>
            <a:srgbClr val="00B4D2">
              <a:alpha val="70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03864" y="3056913"/>
            <a:ext cx="1133159" cy="1133159"/>
          </a:xfrm>
          <a:prstGeom prst="ellipse">
            <a:avLst/>
          </a:prstGeom>
        </p:spPr>
      </p:pic>
      <p:sp>
        <p:nvSpPr>
          <p:cNvPr id="18" name="TextBox 17"/>
          <p:cNvSpPr txBox="1"/>
          <p:nvPr/>
        </p:nvSpPr>
        <p:spPr>
          <a:xfrm>
            <a:off x="4163670" y="2943819"/>
            <a:ext cx="4888890" cy="1261884"/>
          </a:xfrm>
          <a:prstGeom prst="rect">
            <a:avLst/>
          </a:prstGeom>
          <a:noFill/>
        </p:spPr>
        <p:txBody>
          <a:bodyPr wrap="square" rtlCol="0">
            <a:spAutoFit/>
          </a:bodyPr>
          <a:lstStyle/>
          <a:p>
            <a:r>
              <a:rPr lang="en-US" b="1" dirty="0" smtClean="0">
                <a:solidFill>
                  <a:schemeClr val="bg1"/>
                </a:solidFill>
                <a:latin typeface="Glacial Indifference" charset="0"/>
                <a:ea typeface="Glacial Indifference" charset="0"/>
                <a:cs typeface="Glacial Indifference" charset="0"/>
              </a:rPr>
              <a:t>Michael </a:t>
            </a:r>
            <a:r>
              <a:rPr lang="en-US" b="1" dirty="0" smtClean="0">
                <a:solidFill>
                  <a:schemeClr val="bg1"/>
                </a:solidFill>
                <a:latin typeface="Glacial Indifference" charset="0"/>
                <a:ea typeface="Glacial Indifference" charset="0"/>
                <a:cs typeface="Glacial Indifference" charset="0"/>
              </a:rPr>
              <a:t>Rojas</a:t>
            </a:r>
          </a:p>
          <a:p>
            <a:endParaRPr lang="en-US" dirty="0">
              <a:solidFill>
                <a:schemeClr val="bg1"/>
              </a:solidFill>
              <a:latin typeface="Glacial Indifference" charset="0"/>
              <a:ea typeface="Glacial Indifference" charset="0"/>
              <a:cs typeface="Glacial Indifference" charset="0"/>
            </a:endParaRPr>
          </a:p>
          <a:p>
            <a:r>
              <a:rPr lang="en-US" dirty="0" smtClean="0">
                <a:solidFill>
                  <a:schemeClr val="bg1"/>
                </a:solidFill>
                <a:latin typeface="Glacial Indifference" charset="0"/>
                <a:ea typeface="Glacial Indifference" charset="0"/>
                <a:cs typeface="Glacial Indifference" charset="0"/>
              </a:rPr>
              <a:t>Co-Founder </a:t>
            </a:r>
            <a:r>
              <a:rPr lang="en-US" dirty="0">
                <a:solidFill>
                  <a:schemeClr val="bg1"/>
                </a:solidFill>
                <a:latin typeface="Glacial Indifference" charset="0"/>
                <a:ea typeface="Glacial Indifference" charset="0"/>
                <a:cs typeface="Glacial Indifference" charset="0"/>
              </a:rPr>
              <a:t>and CEO of Iron Grip Barbell </a:t>
            </a:r>
            <a:r>
              <a:rPr lang="en-US" dirty="0" smtClean="0">
                <a:solidFill>
                  <a:schemeClr val="bg1"/>
                </a:solidFill>
                <a:latin typeface="Glacial Indifference" charset="0"/>
                <a:ea typeface="Glacial Indifference" charset="0"/>
                <a:cs typeface="Glacial Indifference" charset="0"/>
              </a:rPr>
              <a:t>Company</a:t>
            </a:r>
          </a:p>
          <a:p>
            <a:endParaRPr lang="en-US" sz="600" dirty="0">
              <a:solidFill>
                <a:schemeClr val="bg1"/>
              </a:solidFill>
              <a:latin typeface="Glacial Indifference" charset="0"/>
              <a:ea typeface="Glacial Indifference" charset="0"/>
              <a:cs typeface="Glacial Indifference" charset="0"/>
            </a:endParaRPr>
          </a:p>
          <a:p>
            <a:r>
              <a:rPr lang="en-US" dirty="0">
                <a:solidFill>
                  <a:schemeClr val="bg1"/>
                </a:solidFill>
                <a:latin typeface="Glacial Indifference" charset="0"/>
                <a:ea typeface="Glacial Indifference" charset="0"/>
                <a:cs typeface="Glacial Indifference" charset="0"/>
              </a:rPr>
              <a:t>Iron Grip is the largest provider of commercial free weight equipment </a:t>
            </a:r>
            <a:r>
              <a:rPr lang="en-US" dirty="0" smtClean="0">
                <a:solidFill>
                  <a:schemeClr val="bg1"/>
                </a:solidFill>
                <a:latin typeface="Glacial Indifference" charset="0"/>
                <a:ea typeface="Glacial Indifference" charset="0"/>
                <a:cs typeface="Glacial Indifference" charset="0"/>
              </a:rPr>
              <a:t>worldwide</a:t>
            </a:r>
            <a:endParaRPr lang="en-US" dirty="0">
              <a:solidFill>
                <a:schemeClr val="bg1"/>
              </a:solidFill>
              <a:latin typeface="Glacial Indifference" charset="0"/>
              <a:ea typeface="Glacial Indifference" charset="0"/>
              <a:cs typeface="Glacial Indifference" charset="0"/>
            </a:endParaRPr>
          </a:p>
        </p:txBody>
      </p:sp>
      <p:sp>
        <p:nvSpPr>
          <p:cNvPr id="19" name="TextBox 18"/>
          <p:cNvSpPr txBox="1"/>
          <p:nvPr/>
        </p:nvSpPr>
        <p:spPr>
          <a:xfrm>
            <a:off x="4147641" y="589723"/>
            <a:ext cx="4904919" cy="1477328"/>
          </a:xfrm>
          <a:prstGeom prst="rect">
            <a:avLst/>
          </a:prstGeom>
          <a:noFill/>
        </p:spPr>
        <p:txBody>
          <a:bodyPr wrap="square" rtlCol="0">
            <a:spAutoFit/>
          </a:bodyPr>
          <a:lstStyle/>
          <a:p>
            <a:pPr fontAlgn="base"/>
            <a:r>
              <a:rPr lang="en-US" b="1" dirty="0" smtClean="0">
                <a:solidFill>
                  <a:schemeClr val="bg1"/>
                </a:solidFill>
                <a:latin typeface="Glacial Indifference" charset="0"/>
                <a:ea typeface="Glacial Indifference" charset="0"/>
                <a:cs typeface="Glacial Indifference" charset="0"/>
              </a:rPr>
              <a:t>Austin </a:t>
            </a:r>
            <a:r>
              <a:rPr lang="en-US" b="1" dirty="0" smtClean="0">
                <a:solidFill>
                  <a:schemeClr val="bg1"/>
                </a:solidFill>
                <a:latin typeface="Glacial Indifference" charset="0"/>
                <a:ea typeface="Glacial Indifference" charset="0"/>
                <a:cs typeface="Glacial Indifference" charset="0"/>
              </a:rPr>
              <a:t>Cohen</a:t>
            </a:r>
          </a:p>
          <a:p>
            <a:pPr fontAlgn="base"/>
            <a:endParaRPr lang="en-US" dirty="0">
              <a:solidFill>
                <a:schemeClr val="bg1"/>
              </a:solidFill>
              <a:latin typeface="Glacial Indifference" charset="0"/>
              <a:ea typeface="Glacial Indifference" charset="0"/>
              <a:cs typeface="Glacial Indifference" charset="0"/>
            </a:endParaRPr>
          </a:p>
          <a:p>
            <a:pPr fontAlgn="base"/>
            <a:r>
              <a:rPr lang="en-US" dirty="0" smtClean="0">
                <a:solidFill>
                  <a:schemeClr val="bg1"/>
                </a:solidFill>
                <a:latin typeface="Glacial Indifference" charset="0"/>
                <a:ea typeface="Glacial Indifference" charset="0"/>
                <a:cs typeface="Glacial Indifference" charset="0"/>
              </a:rPr>
              <a:t>Extensive </a:t>
            </a:r>
            <a:r>
              <a:rPr lang="en-US" dirty="0">
                <a:solidFill>
                  <a:schemeClr val="bg1"/>
                </a:solidFill>
                <a:latin typeface="Glacial Indifference" charset="0"/>
                <a:ea typeface="Glacial Indifference" charset="0"/>
                <a:cs typeface="Glacial Indifference" charset="0"/>
              </a:rPr>
              <a:t>consumer venture capital and operating company </a:t>
            </a:r>
            <a:r>
              <a:rPr lang="en-US" dirty="0" smtClean="0">
                <a:solidFill>
                  <a:schemeClr val="bg1"/>
                </a:solidFill>
                <a:latin typeface="Glacial Indifference" charset="0"/>
                <a:ea typeface="Glacial Indifference" charset="0"/>
                <a:cs typeface="Glacial Indifference" charset="0"/>
              </a:rPr>
              <a:t>experience</a:t>
            </a:r>
          </a:p>
          <a:p>
            <a:pPr fontAlgn="base"/>
            <a:endParaRPr lang="en-US" sz="600" dirty="0">
              <a:solidFill>
                <a:schemeClr val="bg1"/>
              </a:solidFill>
              <a:latin typeface="Glacial Indifference" charset="0"/>
              <a:ea typeface="Glacial Indifference" charset="0"/>
              <a:cs typeface="Glacial Indifference" charset="0"/>
            </a:endParaRPr>
          </a:p>
          <a:p>
            <a:pPr fontAlgn="base"/>
            <a:r>
              <a:rPr lang="en-US" dirty="0" smtClean="0">
                <a:solidFill>
                  <a:schemeClr val="bg1"/>
                </a:solidFill>
                <a:latin typeface="Glacial Indifference" charset="0"/>
                <a:ea typeface="Glacial Indifference" charset="0"/>
                <a:cs typeface="Glacial Indifference" charset="0"/>
              </a:rPr>
              <a:t>Columbia </a:t>
            </a:r>
            <a:r>
              <a:rPr lang="en-US" dirty="0">
                <a:solidFill>
                  <a:schemeClr val="bg1"/>
                </a:solidFill>
                <a:latin typeface="Glacial Indifference" charset="0"/>
                <a:ea typeface="Glacial Indifference" charset="0"/>
                <a:cs typeface="Glacial Indifference" charset="0"/>
              </a:rPr>
              <a:t>Business School (MBA); Columbia University (BA); Roslyn High School Valedictorian</a:t>
            </a:r>
          </a:p>
        </p:txBody>
      </p:sp>
      <p:sp>
        <p:nvSpPr>
          <p:cNvPr id="24"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r>
              <a:rPr lang="en-US" dirty="0" smtClean="0">
                <a:solidFill>
                  <a:schemeClr val="bg1"/>
                </a:solidFill>
                <a:latin typeface="Montserrat" charset="0"/>
                <a:ea typeface="Montserrat" charset="0"/>
                <a:cs typeface="Montserrat" charset="0"/>
                <a:sym typeface="Montserrat"/>
              </a:rPr>
              <a:t>16</a:t>
            </a:r>
            <a:endParaRPr dirty="0">
              <a:solidFill>
                <a:schemeClr val="bg1"/>
              </a:solidFill>
              <a:latin typeface="Montserrat" charset="0"/>
              <a:ea typeface="Montserrat" charset="0"/>
              <a:cs typeface="Montserrat" charset="0"/>
              <a:sym typeface="Montserrat"/>
            </a:endParaRPr>
          </a:p>
        </p:txBody>
      </p:sp>
      <p:sp>
        <p:nvSpPr>
          <p:cNvPr id="25" name="Shape 416"/>
          <p:cNvSpPr txBox="1"/>
          <p:nvPr/>
        </p:nvSpPr>
        <p:spPr>
          <a:xfrm>
            <a:off x="462421" y="422684"/>
            <a:ext cx="1602620" cy="577500"/>
          </a:xfrm>
          <a:prstGeom prst="rect">
            <a:avLst/>
          </a:prstGeom>
          <a:noFill/>
          <a:ln>
            <a:noFill/>
          </a:ln>
        </p:spPr>
        <p:txBody>
          <a:bodyPr spcFirstLastPara="1" wrap="square" lIns="91425" tIns="45720" rIns="91425" bIns="45720"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Team</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6" name="TextBox 25"/>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7" name="Picture 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7170" name="Picture 2" descr="https://lh5.googleusercontent.com/F7LpPVjRcEvaZ7bQ61Xo5ApfZ_eyQ6_lxzuM35Zh-7GtlNyWzzO068_DMX97V4UVkO3Qq606x3OScdu2NNYDyE0pc7faDneOb6Idnqv8UrDteP-7lhDgPENWu2_8YBUCX9D0vjo5R4w"/>
          <p:cNvPicPr>
            <a:picLocks noChangeAspect="1" noChangeArrowheads="1"/>
          </p:cNvPicPr>
          <p:nvPr/>
        </p:nvPicPr>
        <p:blipFill rotWithShape="1">
          <a:blip r:embed="rId6">
            <a:extLst>
              <a:ext uri="{28A0092B-C50C-407E-A947-70E740481C1C}">
                <a14:useLocalDpi xmlns:a14="http://schemas.microsoft.com/office/drawing/2010/main" val="0"/>
              </a:ext>
            </a:extLst>
          </a:blip>
          <a:srcRect l="-14969" t="1027" r="-11030" b="17446"/>
          <a:stretch/>
        </p:blipFill>
        <p:spPr bwMode="auto">
          <a:xfrm>
            <a:off x="2539413" y="765167"/>
            <a:ext cx="1133856" cy="1126441"/>
          </a:xfrm>
          <a:prstGeom prst="ellipse">
            <a:avLst/>
          </a:prstGeom>
          <a:solidFill>
            <a:schemeClr val="lt1"/>
          </a:solidFill>
        </p:spPr>
      </p:pic>
    </p:spTree>
    <p:extLst>
      <p:ext uri="{BB962C8B-B14F-4D97-AF65-F5344CB8AC3E}">
        <p14:creationId xmlns:p14="http://schemas.microsoft.com/office/powerpoint/2010/main" val="16449648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SemiBold"/>
              </a:rPr>
              <a:t>WORKOUT WHEREVER, WHENEVER.</a:t>
            </a:r>
            <a:endParaRPr sz="2400"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7</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997" y="1414239"/>
            <a:ext cx="7388304" cy="827049"/>
          </a:xfrm>
          <a:prstGeom prst="rect">
            <a:avLst/>
          </a:prstGeom>
        </p:spPr>
      </p:pic>
    </p:spTree>
    <p:extLst>
      <p:ext uri="{BB962C8B-B14F-4D97-AF65-F5344CB8AC3E}">
        <p14:creationId xmlns:p14="http://schemas.microsoft.com/office/powerpoint/2010/main" val="20954264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srcRect t="10710" r="642" b="6073"/>
          <a:stretch/>
        </p:blipFill>
        <p:spPr>
          <a:xfrm flipH="1">
            <a:off x="0" y="0"/>
            <a:ext cx="9159498" cy="5143500"/>
          </a:xfrm>
          <a:prstGeom prst="rect">
            <a:avLst/>
          </a:prstGeom>
        </p:spPr>
      </p:pic>
      <p:sp>
        <p:nvSpPr>
          <p:cNvPr id="3" name="Slide Number Placeholder 2"/>
          <p:cNvSpPr>
            <a:spLocks noGrp="1"/>
          </p:cNvSpPr>
          <p:nvPr>
            <p:ph type="sldNum" idx="12"/>
          </p:nvPr>
        </p:nvSpPr>
        <p:spPr>
          <a:xfrm>
            <a:off x="8506642"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2</a:t>
            </a:fld>
            <a:endParaRPr lang="uk-UA" dirty="0">
              <a:solidFill>
                <a:schemeClr val="bg1"/>
              </a:solidFill>
              <a:latin typeface="Montserrat" charset="0"/>
              <a:ea typeface="Montserrat" charset="0"/>
              <a:cs typeface="Montserrat" charset="0"/>
            </a:endParaRPr>
          </a:p>
        </p:txBody>
      </p:sp>
      <p:sp>
        <p:nvSpPr>
          <p:cNvPr id="5" name="Shape 62"/>
          <p:cNvSpPr txBox="1"/>
          <p:nvPr/>
        </p:nvSpPr>
        <p:spPr>
          <a:xfrm>
            <a:off x="3355658" y="3184659"/>
            <a:ext cx="2558400" cy="1810512"/>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6</a:t>
            </a:r>
            <a:r>
              <a:rPr lang="en-US" sz="4800" b="1" dirty="0" smtClean="0">
                <a:solidFill>
                  <a:srgbClr val="00B4D2"/>
                </a:solidFill>
                <a:latin typeface="Glacial Indifference" charset="0"/>
                <a:ea typeface="Glacial Indifference" charset="0"/>
                <a:cs typeface="Glacial Indifference" charset="0"/>
                <a:sym typeface="Montserrat"/>
              </a:rPr>
              <a:t>7</a:t>
            </a:r>
            <a:r>
              <a:rPr lang="en" sz="4800" b="1" dirty="0" smtClean="0">
                <a:solidFill>
                  <a:srgbClr val="00B4D2"/>
                </a:solidFill>
                <a:latin typeface="Glacial Indifference" charset="0"/>
                <a:ea typeface="Glacial Indifference" charset="0"/>
                <a:cs typeface="Glacial Indifference" charset="0"/>
                <a:sym typeface="Montserrat"/>
              </a:rPr>
              <a:t>% </a:t>
            </a:r>
            <a:endParaRPr sz="4800" b="1" dirty="0">
              <a:solidFill>
                <a:srgbClr val="00B4D2"/>
              </a:solidFill>
              <a:latin typeface="Glacial Indifference" charset="0"/>
              <a:ea typeface="Glacial Indifference" charset="0"/>
              <a:cs typeface="Glacial Indifference" charset="0"/>
              <a:sym typeface="Montserrat"/>
            </a:endParaRPr>
          </a:p>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Of people with gym memberships never use them</a:t>
            </a:r>
            <a:endParaRPr dirty="0">
              <a:solidFill>
                <a:schemeClr val="bg1"/>
              </a:solidFill>
              <a:latin typeface="Glacial Indifference" charset="0"/>
              <a:ea typeface="Glacial Indifference" charset="0"/>
              <a:cs typeface="Glacial Indifference" charset="0"/>
              <a:sym typeface="Montserrat Light"/>
            </a:endParaRPr>
          </a:p>
        </p:txBody>
      </p:sp>
      <p:sp>
        <p:nvSpPr>
          <p:cNvPr id="6" name="Shape 64"/>
          <p:cNvSpPr txBox="1"/>
          <p:nvPr/>
        </p:nvSpPr>
        <p:spPr>
          <a:xfrm>
            <a:off x="5863577" y="3200245"/>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39</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Per gym membership is wasted due to underutilization</a:t>
            </a:r>
            <a:endParaRPr dirty="0">
              <a:solidFill>
                <a:schemeClr val="bg1"/>
              </a:solidFill>
              <a:latin typeface="Glacial Indifference" charset="0"/>
              <a:ea typeface="Glacial Indifference" charset="0"/>
              <a:cs typeface="Glacial Indifference" charset="0"/>
              <a:sym typeface="Montserrat Light"/>
            </a:endParaRPr>
          </a:p>
        </p:txBody>
      </p:sp>
      <p:sp>
        <p:nvSpPr>
          <p:cNvPr id="7" name="Shape 65"/>
          <p:cNvSpPr txBox="1"/>
          <p:nvPr/>
        </p:nvSpPr>
        <p:spPr>
          <a:xfrm>
            <a:off x="5914058" y="1803178"/>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57.25</a:t>
            </a:r>
            <a:r>
              <a:rPr lang="en-US" sz="4800" b="1" dirty="0" smtClean="0">
                <a:solidFill>
                  <a:srgbClr val="00B4D2"/>
                </a:solidFill>
                <a:latin typeface="Glacial Indifference" charset="0"/>
                <a:ea typeface="Glacial Indifference" charset="0"/>
                <a:cs typeface="Glacial Indifference" charset="0"/>
                <a:sym typeface="Montserrat"/>
              </a:rPr>
              <a:t>M</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 dirty="0">
                <a:solidFill>
                  <a:schemeClr val="bg1"/>
                </a:solidFill>
                <a:latin typeface="Glacial Indifference" charset="0"/>
                <a:ea typeface="Glacial Indifference" charset="0"/>
                <a:cs typeface="Glacial Indifference" charset="0"/>
                <a:sym typeface="Montserrat Light"/>
              </a:rPr>
              <a:t>Members of health clubs in the United </a:t>
            </a:r>
            <a:r>
              <a:rPr lang="en" dirty="0" smtClean="0">
                <a:solidFill>
                  <a:schemeClr val="bg1"/>
                </a:solidFill>
                <a:latin typeface="Glacial Indifference" charset="0"/>
                <a:ea typeface="Glacial Indifference" charset="0"/>
                <a:cs typeface="Glacial Indifference" charset="0"/>
                <a:sym typeface="Montserrat Light"/>
              </a:rPr>
              <a:t>States</a:t>
            </a:r>
            <a:endParaRPr dirty="0">
              <a:solidFill>
                <a:schemeClr val="bg1"/>
              </a:solidFill>
              <a:latin typeface="Glacial Indifference" charset="0"/>
              <a:ea typeface="Glacial Indifference" charset="0"/>
              <a:cs typeface="Glacial Indifference" charset="0"/>
              <a:sym typeface="Montserrat Light"/>
            </a:endParaRPr>
          </a:p>
        </p:txBody>
      </p:sp>
      <p:sp>
        <p:nvSpPr>
          <p:cNvPr id="9" name="Rectangle 8"/>
          <p:cNvSpPr/>
          <p:nvPr/>
        </p:nvSpPr>
        <p:spPr>
          <a:xfrm>
            <a:off x="74878" y="4802901"/>
            <a:ext cx="2910054"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sp>
        <p:nvSpPr>
          <p:cNvPr id="2" name="TextBox 1"/>
          <p:cNvSpPr txBox="1"/>
          <p:nvPr/>
        </p:nvSpPr>
        <p:spPr>
          <a:xfrm>
            <a:off x="469075" y="409700"/>
            <a:ext cx="7650480" cy="1200329"/>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The fitness industry is ripe with opportunity, as the evolving needs of consumers challenge traditional models</a:t>
            </a:r>
          </a:p>
        </p:txBody>
      </p:sp>
      <p:sp>
        <p:nvSpPr>
          <p:cNvPr id="13" name="Shape 65"/>
          <p:cNvSpPr txBox="1"/>
          <p:nvPr/>
        </p:nvSpPr>
        <p:spPr>
          <a:xfrm>
            <a:off x="3306433" y="1803178"/>
            <a:ext cx="2558400" cy="1364107"/>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21.8B</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Rev/year of the gym and health club industry</a:t>
            </a:r>
            <a:endParaRPr dirty="0">
              <a:solidFill>
                <a:schemeClr val="bg1"/>
              </a:solidFill>
              <a:latin typeface="Glacial Indifference" charset="0"/>
              <a:ea typeface="Glacial Indifference" charset="0"/>
              <a:cs typeface="Glacial Indifference" charset="0"/>
              <a:sym typeface="Montserrat Light"/>
            </a:endParaRPr>
          </a:p>
        </p:txBody>
      </p:sp>
      <p:sp>
        <p:nvSpPr>
          <p:cNvPr id="14" name="TextBox 13"/>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613261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21" name="TextBox 20"/>
          <p:cNvSpPr txBox="1"/>
          <p:nvPr/>
        </p:nvSpPr>
        <p:spPr>
          <a:xfrm>
            <a:off x="469075" y="409700"/>
            <a:ext cx="3770416" cy="1200329"/>
          </a:xfrm>
          <a:prstGeom prst="rect">
            <a:avLst/>
          </a:prstGeom>
          <a:noFill/>
        </p:spPr>
        <p:txBody>
          <a:bodyPr wrap="square" rtlCol="0">
            <a:spAutoFit/>
          </a:bodyPr>
          <a:lstStyle/>
          <a:p>
            <a:pPr lvl="0"/>
            <a:r>
              <a:rPr lang="en-US" sz="2400" b="1">
                <a:solidFill>
                  <a:schemeClr val="bg1"/>
                </a:solidFill>
                <a:latin typeface="Glacial Indifference" charset="0"/>
                <a:ea typeface="Glacial Indifference" charset="0"/>
                <a:cs typeface="Glacial Indifference" charset="0"/>
                <a:sym typeface="Montserrat Medium"/>
              </a:rPr>
              <a:t>Consumers value fitness experiences that offer flexibility</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2" name="Rounded Rectangle 1"/>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3</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849332"/>
            <a:ext cx="3579145" cy="3309621"/>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sumers are</a:t>
            </a:r>
            <a:r>
              <a:rPr lang="is-IS" sz="1200" b="1" dirty="0">
                <a:solidFill>
                  <a:schemeClr val="bg1"/>
                </a:solidFill>
                <a:latin typeface="Glacial Indifference" charset="0"/>
                <a:ea typeface="Glacial Indifference" charset="0"/>
                <a:cs typeface="Glacial Indifference" charset="0"/>
                <a:sym typeface="Montserrat"/>
              </a:rPr>
              <a:t>…</a:t>
            </a: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ditioned </a:t>
            </a:r>
            <a:r>
              <a:rPr lang="en-US" sz="1200" dirty="0">
                <a:solidFill>
                  <a:schemeClr val="bg1"/>
                </a:solidFill>
                <a:latin typeface="Glacial Indifference" charset="0"/>
                <a:ea typeface="Glacial Indifference" charset="0"/>
                <a:cs typeface="Glacial Indifference" charset="0"/>
                <a:sym typeface="Montserrat"/>
              </a:rPr>
              <a:t>to access fitness a-la-carte and pay only for what they use</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scouraged </a:t>
            </a:r>
            <a:r>
              <a:rPr lang="en-US" sz="1200" dirty="0">
                <a:solidFill>
                  <a:schemeClr val="bg1"/>
                </a:solidFill>
                <a:latin typeface="Glacial Indifference" charset="0"/>
                <a:ea typeface="Glacial Indifference" charset="0"/>
                <a:cs typeface="Glacial Indifference" charset="0"/>
                <a:sym typeface="Montserrat"/>
              </a:rPr>
              <a:t>by memberships that require long-term commitments and are painful to exi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mpowered </a:t>
            </a:r>
            <a:r>
              <a:rPr lang="en-US" sz="1200" dirty="0">
                <a:solidFill>
                  <a:schemeClr val="bg1"/>
                </a:solidFill>
                <a:latin typeface="Glacial Indifference" charset="0"/>
                <a:ea typeface="Glacial Indifference" charset="0"/>
                <a:cs typeface="Glacial Indifference" charset="0"/>
                <a:sym typeface="Montserrat"/>
              </a:rPr>
              <a:t>by variety in options to meet their fitness goal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nabled </a:t>
            </a:r>
            <a:r>
              <a:rPr lang="en-US" sz="1200" dirty="0">
                <a:solidFill>
                  <a:schemeClr val="bg1"/>
                </a:solidFill>
                <a:latin typeface="Glacial Indifference" charset="0"/>
                <a:ea typeface="Glacial Indifference" charset="0"/>
                <a:cs typeface="Glacial Indifference" charset="0"/>
                <a:sym typeface="Montserrat"/>
              </a:rPr>
              <a:t>by convenience to keep up with their busy lifestyle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gitally </a:t>
            </a:r>
            <a:r>
              <a:rPr lang="en-US" sz="1200" dirty="0">
                <a:solidFill>
                  <a:schemeClr val="bg1"/>
                </a:solidFill>
                <a:latin typeface="Glacial Indifference" charset="0"/>
                <a:ea typeface="Glacial Indifference" charset="0"/>
                <a:cs typeface="Glacial Indifference" charset="0"/>
                <a:sym typeface="Montserrat"/>
              </a:rPr>
              <a:t>connected and value seamless integration </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Motivated </a:t>
            </a:r>
            <a:r>
              <a:rPr lang="en-US" sz="1200" dirty="0">
                <a:solidFill>
                  <a:schemeClr val="bg1"/>
                </a:solidFill>
                <a:latin typeface="Glacial Indifference" charset="0"/>
                <a:ea typeface="Glacial Indifference" charset="0"/>
                <a:cs typeface="Glacial Indifference" charset="0"/>
                <a:sym typeface="Montserrat"/>
              </a:rPr>
              <a:t>by community</a:t>
            </a:r>
            <a:endParaRPr lang="en" sz="1200" dirty="0">
              <a:solidFill>
                <a:schemeClr val="bg1"/>
              </a:solidFill>
              <a:latin typeface="Glacial Indifference" charset="0"/>
              <a:ea typeface="Glacial Indifference" charset="0"/>
              <a:cs typeface="Glacial Indifference" charset="0"/>
              <a:sym typeface="Montserrat"/>
            </a:endParaRPr>
          </a:p>
        </p:txBody>
      </p:sp>
      <p:sp>
        <p:nvSpPr>
          <p:cNvPr id="15" name="TextBox 14"/>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2040276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11" name="Rounded Rectangle 10"/>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4</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400196"/>
            <a:ext cx="3579145" cy="4197286"/>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Gyms face</a:t>
            </a:r>
            <a:r>
              <a:rPr lang="is-IS" sz="1200" b="1" dirty="0">
                <a:solidFill>
                  <a:schemeClr val="bg1"/>
                </a:solidFill>
                <a:latin typeface="Glacial Indifference" charset="0"/>
                <a:ea typeface="Glacial Indifference" charset="0"/>
                <a:cs typeface="Glacial Indifference" charset="0"/>
                <a:sym typeface="Montserrat"/>
              </a:rPr>
              <a:t>…</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High costs to launch and operate </a:t>
            </a:r>
            <a:r>
              <a:rPr lang="en" sz="1200" dirty="0">
                <a:solidFill>
                  <a:schemeClr val="bg1"/>
                </a:solidFill>
                <a:latin typeface="Glacial Indifference" charset="0"/>
                <a:ea typeface="Glacial Indifference" charset="0"/>
                <a:cs typeface="Glacial Indifference" charset="0"/>
                <a:sym typeface="Montserrat"/>
              </a:rPr>
              <a:t>facilities</a:t>
            </a:r>
            <a:r>
              <a:rPr lang="en-US" sz="1200" dirty="0">
                <a:solidFill>
                  <a:schemeClr val="bg1"/>
                </a:solidFill>
                <a:latin typeface="Glacial Indifference" charset="0"/>
                <a:ea typeface="Glacial Indifference" charset="0"/>
                <a:cs typeface="Glacial Indifference" charset="0"/>
                <a:sym typeface="Montserrat"/>
              </a:rPr>
              <a:t>,</a:t>
            </a:r>
            <a:r>
              <a:rPr lang="en" sz="1200" dirty="0">
                <a:solidFill>
                  <a:schemeClr val="bg1"/>
                </a:solidFill>
                <a:latin typeface="Glacial Indifference" charset="0"/>
                <a:ea typeface="Glacial Indifference" charset="0"/>
                <a:cs typeface="Glacial Indifference" charset="0"/>
                <a:sym typeface="Montserrat"/>
              </a:rPr>
              <a:t> </a:t>
            </a:r>
            <a:r>
              <a:rPr lang="en-US" sz="1200" dirty="0">
                <a:solidFill>
                  <a:schemeClr val="bg1"/>
                </a:solidFill>
                <a:latin typeface="Glacial Indifference" charset="0"/>
                <a:ea typeface="Glacial Indifference" charset="0"/>
                <a:cs typeface="Glacial Indifference" charset="0"/>
                <a:sym typeface="Montserrat"/>
              </a:rPr>
              <a:t>making it difficult to attract and retain profitable customers </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Adversity to long term-commitment </a:t>
            </a:r>
            <a:r>
              <a:rPr lang="en-US" sz="1200" dirty="0">
                <a:solidFill>
                  <a:schemeClr val="bg1"/>
                </a:solidFill>
                <a:latin typeface="Glacial Indifference" charset="0"/>
                <a:ea typeface="Glacial Indifference" charset="0"/>
                <a:cs typeface="Glacial Indifference" charset="0"/>
                <a:sym typeface="Montserrat"/>
              </a:rPr>
              <a:t>requiring alternative revenue streams</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Proliferation of </a:t>
            </a:r>
            <a:r>
              <a:rPr lang="en-US" sz="1200" b="1" dirty="0">
                <a:solidFill>
                  <a:schemeClr val="bg1"/>
                </a:solidFill>
                <a:latin typeface="Glacial Indifference" charset="0"/>
                <a:ea typeface="Glacial Indifference" charset="0"/>
                <a:cs typeface="Glacial Indifference" charset="0"/>
                <a:sym typeface="Montserrat"/>
              </a:rPr>
              <a:t>facilities, including boutique studios, </a:t>
            </a:r>
            <a:r>
              <a:rPr lang="en-US" sz="1200" dirty="0">
                <a:solidFill>
                  <a:schemeClr val="bg1"/>
                </a:solidFill>
                <a:latin typeface="Glacial Indifference" charset="0"/>
                <a:ea typeface="Glacial Indifference" charset="0"/>
                <a:cs typeface="Glacial Indifference" charset="0"/>
                <a:sym typeface="Montserrat"/>
              </a:rPr>
              <a:t>that have stolen market-share</a:t>
            </a:r>
          </a:p>
          <a:p>
            <a:pPr>
              <a:tabLst>
                <a:tab pos="2743200" algn="l"/>
              </a:tabLst>
            </a:pP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ransient customer-bases </a:t>
            </a:r>
            <a:r>
              <a:rPr lang="en-US" sz="1200" dirty="0">
                <a:solidFill>
                  <a:schemeClr val="bg1"/>
                </a:solidFill>
                <a:latin typeface="Glacial Indifference" charset="0"/>
                <a:ea typeface="Glacial Indifference" charset="0"/>
                <a:cs typeface="Glacial Indifference" charset="0"/>
                <a:sym typeface="Montserrat"/>
              </a:rPr>
              <a:t>that require broad-reach to capture the available marke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emanding customers </a:t>
            </a:r>
            <a:r>
              <a:rPr lang="en-US" sz="1200" dirty="0">
                <a:solidFill>
                  <a:schemeClr val="bg1"/>
                </a:solidFill>
                <a:latin typeface="Glacial Indifference" charset="0"/>
                <a:ea typeface="Glacial Indifference" charset="0"/>
                <a:cs typeface="Glacial Indifference" charset="0"/>
                <a:sym typeface="Montserrat"/>
              </a:rPr>
              <a:t>that desire personalization that is too costly to provide at scale</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ech-savvy customers </a:t>
            </a:r>
            <a:r>
              <a:rPr lang="en-US" sz="1200" dirty="0">
                <a:solidFill>
                  <a:schemeClr val="bg1"/>
                </a:solidFill>
                <a:latin typeface="Glacial Indifference" charset="0"/>
                <a:ea typeface="Glacial Indifference" charset="0"/>
                <a:cs typeface="Glacial Indifference" charset="0"/>
                <a:sym typeface="Montserrat"/>
              </a:rPr>
              <a:t>that expect a digitally connected </a:t>
            </a:r>
            <a:r>
              <a:rPr lang="en-US" sz="1200" dirty="0" smtClean="0">
                <a:solidFill>
                  <a:schemeClr val="bg1"/>
                </a:solidFill>
                <a:latin typeface="Glacial Indifference" charset="0"/>
                <a:ea typeface="Glacial Indifference" charset="0"/>
                <a:cs typeface="Glacial Indifference" charset="0"/>
                <a:sym typeface="Montserrat"/>
              </a:rPr>
              <a:t>experience</a:t>
            </a:r>
            <a:endParaRPr lang="en-US" sz="1200" b="1" dirty="0">
              <a:solidFill>
                <a:schemeClr val="bg1"/>
              </a:solidFill>
              <a:latin typeface="Glacial Indifference" charset="0"/>
              <a:ea typeface="Glacial Indifference" charset="0"/>
              <a:cs typeface="Glacial Indifference" charset="0"/>
              <a:sym typeface="Montserrat"/>
            </a:endParaRPr>
          </a:p>
        </p:txBody>
      </p:sp>
      <p:sp>
        <p:nvSpPr>
          <p:cNvPr id="10" name="TextBox 9"/>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5" name="TextBox 14"/>
          <p:cNvSpPr txBox="1"/>
          <p:nvPr/>
        </p:nvSpPr>
        <p:spPr>
          <a:xfrm>
            <a:off x="469075" y="409700"/>
            <a:ext cx="3770416" cy="2308324"/>
          </a:xfrm>
          <a:prstGeom prst="rect">
            <a:avLst/>
          </a:prstGeom>
          <a:noFill/>
        </p:spPr>
        <p:txBody>
          <a:bodyPr wrap="square" rtlCol="0">
            <a:sp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Gyms face significant challenges in meeting their customers’ needs while navigating an increasingly competitive landscape</a:t>
            </a:r>
          </a:p>
        </p:txBody>
      </p:sp>
    </p:spTree>
    <p:extLst>
      <p:ext uri="{BB962C8B-B14F-4D97-AF65-F5344CB8AC3E}">
        <p14:creationId xmlns:p14="http://schemas.microsoft.com/office/powerpoint/2010/main" val="19171467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5</a:t>
            </a:fld>
            <a:endParaRPr dirty="0">
              <a:solidFill>
                <a:schemeClr val="bg1"/>
              </a:solidFill>
              <a:latin typeface="Montserrat" charset="0"/>
              <a:ea typeface="Montserrat" charset="0"/>
              <a:cs typeface="Montserrat" charset="0"/>
            </a:endParaRPr>
          </a:p>
        </p:txBody>
      </p:sp>
      <p:sp>
        <p:nvSpPr>
          <p:cNvPr id="18" name="Rectangle 17"/>
          <p:cNvSpPr/>
          <p:nvPr/>
        </p:nvSpPr>
        <p:spPr>
          <a:xfrm>
            <a:off x="469075" y="4097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grpSp>
        <p:nvGrpSpPr>
          <p:cNvPr id="2" name="Group 1"/>
          <p:cNvGrpSpPr/>
          <p:nvPr/>
        </p:nvGrpSpPr>
        <p:grpSpPr>
          <a:xfrm>
            <a:off x="4993643" y="1501696"/>
            <a:ext cx="3578858" cy="2593596"/>
            <a:chOff x="4993643" y="1299816"/>
            <a:chExt cx="3578858" cy="2593596"/>
          </a:xfrm>
        </p:grpSpPr>
        <p:sp>
          <p:nvSpPr>
            <p:cNvPr id="16" name="TextBox 15"/>
            <p:cNvSpPr txBox="1"/>
            <p:nvPr/>
          </p:nvSpPr>
          <p:spPr>
            <a:xfrm>
              <a:off x="4993643" y="1299816"/>
              <a:ext cx="3578858" cy="2000548"/>
            </a:xfrm>
            <a:prstGeom prst="rect">
              <a:avLst/>
            </a:prstGeom>
            <a:noFill/>
          </p:spPr>
          <p:txBody>
            <a:bodyPr wrap="square" rtlCol="0">
              <a:spAutoFit/>
            </a:bodyPr>
            <a:lstStyle/>
            <a:p>
              <a:r>
                <a:rPr lang="en-US" sz="1100" dirty="0" smtClean="0">
                  <a:solidFill>
                    <a:schemeClr val="bg1"/>
                  </a:solidFill>
                  <a:latin typeface="Glacial Indifference" charset="0"/>
                  <a:ea typeface="Glacial Indifference" charset="0"/>
                  <a:cs typeface="Glacial Indifference" charset="0"/>
                </a:rPr>
                <a:t>… People, especially millennials, are searching for </a:t>
              </a:r>
              <a:r>
                <a:rPr lang="en-US" b="1" dirty="0" smtClean="0">
                  <a:solidFill>
                    <a:schemeClr val="bg1"/>
                  </a:solidFill>
                  <a:latin typeface="Glacial Indifference" charset="0"/>
                  <a:ea typeface="Glacial Indifference" charset="0"/>
                  <a:cs typeface="Glacial Indifference" charset="0"/>
                </a:rPr>
                <a:t>personalized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sz="1600"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digital fitness app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nywhere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998453" y="3554675"/>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grpSp>
      <p:sp>
        <p:nvSpPr>
          <p:cNvPr id="12" name="TextBox 11"/>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3" name="Picture 2"/>
          <p:cNvPicPr>
            <a:picLocks noChangeAspect="1"/>
          </p:cNvPicPr>
          <p:nvPr/>
        </p:nvPicPr>
        <p:blipFill>
          <a:blip r:embed="rId5"/>
          <a:stretch>
            <a:fillRect/>
          </a:stretch>
        </p:blipFill>
        <p:spPr>
          <a:xfrm rot="10569321">
            <a:off x="4743875" y="1127964"/>
            <a:ext cx="440432" cy="359371"/>
          </a:xfrm>
          <a:prstGeom prst="rect">
            <a:avLst/>
          </a:prstGeom>
        </p:spPr>
      </p:pic>
    </p:spTree>
    <p:extLst>
      <p:ext uri="{BB962C8B-B14F-4D97-AF65-F5344CB8AC3E}">
        <p14:creationId xmlns:p14="http://schemas.microsoft.com/office/powerpoint/2010/main" val="9160827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6</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478030" y="611905"/>
            <a:ext cx="2371241" cy="584775"/>
          </a:xfrm>
          <a:prstGeom prst="rect">
            <a:avLst/>
          </a:prstGeom>
          <a:noFill/>
        </p:spPr>
        <p:txBody>
          <a:bodyPr wrap="square" rtlCol="0">
            <a:spAutoFit/>
          </a:bodyPr>
          <a:lstStyle/>
          <a:p>
            <a:r>
              <a:rPr lang="en-US" sz="3200" b="1" dirty="0" smtClean="0">
                <a:solidFill>
                  <a:schemeClr val="bg1"/>
                </a:solidFill>
                <a:latin typeface="Glacial Indifference" charset="0"/>
                <a:ea typeface="Glacial Indifference" charset="0"/>
                <a:cs typeface="Glacial Indifference" charset="0"/>
              </a:rPr>
              <a:t>What if…</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7460"/>
            <a:ext cx="5486400" cy="1015663"/>
          </a:xfrm>
          <a:prstGeom prst="rect">
            <a:avLst/>
          </a:prstGeom>
        </p:spPr>
        <p:txBody>
          <a:bodyPr wrap="square">
            <a:spAutoFit/>
          </a:bodyPr>
          <a:lstStyle/>
          <a:p>
            <a:pPr algn="ctr"/>
            <a:r>
              <a:rPr lang="en-US" sz="2000" dirty="0">
                <a:solidFill>
                  <a:schemeClr val="bg1"/>
                </a:solidFill>
                <a:latin typeface="Glacial Indifference" charset="0"/>
                <a:ea typeface="Glacial Indifference" charset="0"/>
                <a:cs typeface="Glacial Indifference" charset="0"/>
              </a:rPr>
              <a:t>there </a:t>
            </a:r>
            <a:r>
              <a:rPr lang="en-US" sz="2000" dirty="0" smtClean="0">
                <a:solidFill>
                  <a:schemeClr val="bg1"/>
                </a:solidFill>
                <a:latin typeface="Glacial Indifference" charset="0"/>
                <a:ea typeface="Glacial Indifference" charset="0"/>
                <a:cs typeface="Glacial Indifference" charset="0"/>
              </a:rPr>
              <a:t>were a solution </a:t>
            </a:r>
            <a:r>
              <a:rPr lang="en-US" sz="2000" dirty="0">
                <a:solidFill>
                  <a:schemeClr val="bg1"/>
                </a:solidFill>
                <a:latin typeface="Glacial Indifference" charset="0"/>
                <a:ea typeface="Glacial Indifference" charset="0"/>
                <a:cs typeface="Glacial Indifference" charset="0"/>
              </a:rPr>
              <a:t>that offered consumers the flexibility they expect while enabling facilities to deliver profitably?</a:t>
            </a:r>
          </a:p>
        </p:txBody>
      </p:sp>
      <p:sp>
        <p:nvSpPr>
          <p:cNvPr id="14" name="TextBox 13"/>
          <p:cNvSpPr txBox="1"/>
          <p:nvPr/>
        </p:nvSpPr>
        <p:spPr>
          <a:xfrm>
            <a:off x="7342556" y="91440"/>
            <a:ext cx="1816942"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10" name="Picture 9"/>
          <p:cNvPicPr>
            <a:picLocks/>
          </p:cNvPicPr>
          <p:nvPr/>
        </p:nvPicPr>
        <p:blipFill>
          <a:blip r:embed="rId5">
            <a:extLst>
              <a:ext uri="{28A0092B-C50C-407E-A947-70E740481C1C}">
                <a14:useLocalDpi xmlns:a14="http://schemas.microsoft.com/office/drawing/2010/main" val="0"/>
              </a:ext>
            </a:extLst>
          </a:blip>
          <a:stretch>
            <a:fillRect/>
          </a:stretch>
        </p:blipFill>
        <p:spPr>
          <a:xfrm>
            <a:off x="2976501" y="3793063"/>
            <a:ext cx="3206496" cy="18288"/>
          </a:xfrm>
          <a:prstGeom prst="rect">
            <a:avLst/>
          </a:prstGeom>
        </p:spPr>
      </p:pic>
    </p:spTree>
    <p:extLst>
      <p:ext uri="{BB962C8B-B14F-4D97-AF65-F5344CB8AC3E}">
        <p14:creationId xmlns:p14="http://schemas.microsoft.com/office/powerpoint/2010/main" val="8117415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19450"/>
            <a:ext cx="2063290" cy="871270"/>
            <a:chOff x="5507898" y="3560414"/>
            <a:chExt cx="2063290" cy="871270"/>
          </a:xfrm>
        </p:grpSpPr>
        <p:sp>
          <p:nvSpPr>
            <p:cNvPr id="61" name="Shape 204"/>
            <p:cNvSpPr txBox="1"/>
            <p:nvPr/>
          </p:nvSpPr>
          <p:spPr>
            <a:xfrm>
              <a:off x="5507898" y="3560414"/>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672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tx1"/>
          </a:solidFill>
          <a:ln w="22225">
            <a:solidFill>
              <a:srgbClr val="00B4D2">
                <a:alpha val="7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86930" y="306388"/>
            <a:ext cx="2255894" cy="2255894"/>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31" y="291425"/>
            <a:ext cx="2302447" cy="2280325"/>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721776"/>
            <a:ext cx="2316566" cy="2316566"/>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1742" y="2709775"/>
            <a:ext cx="2328567" cy="2328567"/>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7</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solidFill>
                  <a:schemeClr val="bg1"/>
                </a:solidFill>
                <a:latin typeface="Glacial Indifference" charset="0"/>
              </a:rPr>
              <a:t>THE A-LA-CARTE FITNESS SOLUTION THAT ALLOWS USERS TO WORK-OUT </a:t>
            </a:r>
            <a:endParaRPr lang="en-US" sz="800" dirty="0" smtClean="0">
              <a:solidFill>
                <a:schemeClr val="bg1"/>
              </a:solidFill>
              <a:latin typeface="Glacial Indifference" charset="0"/>
            </a:endParaRPr>
          </a:p>
          <a:p>
            <a:pPr algn="ctr"/>
            <a:r>
              <a:rPr lang="en-US" sz="800" dirty="0" smtClean="0">
                <a:solidFill>
                  <a:schemeClr val="bg1"/>
                </a:solidFill>
                <a:latin typeface="Glacial Indifference" charset="0"/>
              </a:rPr>
              <a:t>WHERE </a:t>
            </a:r>
            <a:r>
              <a:rPr lang="en-US" sz="800" dirty="0" smtClean="0">
                <a:solidFill>
                  <a:schemeClr val="bg1"/>
                </a:solidFill>
                <a:latin typeface="Glacial Indifference" charset="0"/>
              </a:rPr>
              <a:t>THEY WANT, WHEN THEY </a:t>
            </a:r>
            <a:r>
              <a:rPr lang="en-US" sz="800" dirty="0" smtClean="0">
                <a:solidFill>
                  <a:schemeClr val="bg1"/>
                </a:solidFill>
                <a:latin typeface="Glacial Indifference" charset="0"/>
              </a:rPr>
              <a:t>WANT </a:t>
            </a:r>
            <a:r>
              <a:rPr lang="en-US" sz="800" dirty="0" smtClean="0">
                <a:solidFill>
                  <a:schemeClr val="bg1"/>
                </a:solidFill>
                <a:latin typeface="Glacial Indifference" charset="0"/>
              </a:rPr>
              <a:t>AND PAY ONLY FOR THE TIME THEY USE</a:t>
            </a:r>
            <a:endParaRPr lang="en-US" sz="800" dirty="0">
              <a:solidFill>
                <a:schemeClr val="bg1"/>
              </a:solidFill>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sp>
        <p:nvSpPr>
          <p:cNvPr id="37" name="TextBox 36"/>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38" name="Picture 3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8107309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pic>
        <p:nvPicPr>
          <p:cNvPr id="46" name="Picture 45"/>
          <p:cNvPicPr>
            <a:picLocks noChangeAspect="1"/>
          </p:cNvPicPr>
          <p:nvPr/>
        </p:nvPicPr>
        <p:blipFill rotWithShape="1">
          <a:blip r:embed="rId5"/>
          <a:srcRect t="10710" r="642" b="6073"/>
          <a:stretch/>
        </p:blipFill>
        <p:spPr>
          <a:xfrm flipH="1">
            <a:off x="0" y="0"/>
            <a:ext cx="9159498" cy="5143500"/>
          </a:xfrm>
          <a:prstGeom prst="rect">
            <a:avLst/>
          </a:prstGeom>
        </p:spPr>
      </p:pic>
      <p:sp>
        <p:nvSpPr>
          <p:cNvPr id="44" name="Oval 43"/>
          <p:cNvSpPr/>
          <p:nvPr/>
        </p:nvSpPr>
        <p:spPr>
          <a:xfrm>
            <a:off x="3508789" y="2087545"/>
            <a:ext cx="2154352" cy="2151031"/>
          </a:xfrm>
          <a:prstGeom prst="ellipse">
            <a:avLst/>
          </a:prstGeom>
          <a:solidFill>
            <a:srgbClr val="444445">
              <a:alpha val="7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3270971" y="1849859"/>
            <a:ext cx="2602626" cy="2598614"/>
          </a:xfrm>
          <a:prstGeom prst="ellipse">
            <a:avLst/>
          </a:prstGeom>
          <a:noFill/>
          <a:ln w="76200">
            <a:solidFill>
              <a:srgbClr val="444445">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1301095" y="1593502"/>
            <a:ext cx="6522444" cy="3085138"/>
            <a:chOff x="538268" y="2115599"/>
            <a:chExt cx="9588395" cy="4535343"/>
          </a:xfrm>
        </p:grpSpPr>
        <p:sp>
          <p:nvSpPr>
            <p:cNvPr id="15" name="Rectangle 14"/>
            <p:cNvSpPr/>
            <p:nvPr/>
          </p:nvSpPr>
          <p:spPr bwMode="ltGray">
            <a:xfrm>
              <a:off x="538268" y="5977640"/>
              <a:ext cx="366422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GB" sz="1100" b="1" kern="1200" dirty="0">
                  <a:solidFill>
                    <a:srgbClr val="FFFFFF"/>
                  </a:solidFill>
                  <a:latin typeface="Glacial Indifference" charset="0"/>
                  <a:ea typeface="Glacial Indifference" charset="0"/>
                  <a:cs typeface="Glacial Indifference" charset="0"/>
                </a:rPr>
                <a:t>Mobile-based solution that </a:t>
              </a:r>
            </a:p>
            <a:p>
              <a:pPr defTabSz="693004">
                <a:buClrTx/>
              </a:pPr>
              <a:r>
                <a:rPr lang="en-GB" sz="1100" b="1" kern="1200" dirty="0">
                  <a:solidFill>
                    <a:srgbClr val="FFFFFF"/>
                  </a:solidFill>
                  <a:latin typeface="Glacial Indifference" charset="0"/>
                  <a:ea typeface="Glacial Indifference" charset="0"/>
                  <a:cs typeface="Glacial Indifference" charset="0"/>
                </a:rPr>
                <a:t>enables a frictionless </a:t>
              </a:r>
              <a:r>
                <a:rPr lang="en-GB" sz="1100" b="1" kern="1200" dirty="0" smtClean="0">
                  <a:solidFill>
                    <a:srgbClr val="FFFFFF"/>
                  </a:solidFill>
                  <a:latin typeface="Glacial Indifference" charset="0"/>
                  <a:ea typeface="Glacial Indifference" charset="0"/>
                  <a:cs typeface="Glacial Indifference" charset="0"/>
                </a:rPr>
                <a:t>experience</a:t>
              </a:r>
              <a:endParaRPr lang="en-GB" sz="1100" b="1" kern="1200" dirty="0">
                <a:solidFill>
                  <a:srgbClr val="FFFFFF"/>
                </a:solidFill>
                <a:latin typeface="Glacial Indifference" charset="0"/>
                <a:ea typeface="Glacial Indifference" charset="0"/>
                <a:cs typeface="Glacial Indifference" charset="0"/>
              </a:endParaRPr>
            </a:p>
          </p:txBody>
        </p:sp>
        <p:sp>
          <p:nvSpPr>
            <p:cNvPr id="17" name="Rectangle 16"/>
            <p:cNvSpPr/>
            <p:nvPr/>
          </p:nvSpPr>
          <p:spPr bwMode="ltGray">
            <a:xfrm>
              <a:off x="538268" y="5075491"/>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Try before you buy</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1" name="Rectangle 20"/>
            <p:cNvSpPr/>
            <p:nvPr/>
          </p:nvSpPr>
          <p:spPr bwMode="ltGray">
            <a:xfrm>
              <a:off x="538268" y="4078300"/>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No long-term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 sz="1100" b="1" dirty="0" smtClean="0">
                  <a:solidFill>
                    <a:schemeClr val="bg1"/>
                  </a:solidFill>
                  <a:latin typeface="Glacial Indifference" charset="0"/>
                  <a:ea typeface="Glacial Indifference" charset="0"/>
                  <a:cs typeface="Glacial Indifference" charset="0"/>
                  <a:sym typeface="Montserrat"/>
                </a:rPr>
                <a:t>commitments</a:t>
              </a:r>
              <a:endParaRPr lang="en-US" sz="1100" b="1" dirty="0">
                <a:solidFill>
                  <a:schemeClr val="bg1"/>
                </a:solidFill>
                <a:latin typeface="Glacial Indifference" charset="0"/>
                <a:ea typeface="Glacial Indifference" charset="0"/>
                <a:cs typeface="Glacial Indifference" charset="0"/>
                <a:sym typeface="Montserrat"/>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2" name="Rectangle 21"/>
            <p:cNvSpPr/>
            <p:nvPr/>
          </p:nvSpPr>
          <p:spPr bwMode="ltGray">
            <a:xfrm>
              <a:off x="538268" y="3049429"/>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Pay only for what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a:solidFill>
                    <a:schemeClr val="bg1"/>
                  </a:solidFill>
                  <a:latin typeface="Glacial Indifference" charset="0"/>
                  <a:ea typeface="Glacial Indifference" charset="0"/>
                  <a:cs typeface="Glacial Indifference" charset="0"/>
                  <a:sym typeface="Montserrat"/>
                </a:rPr>
                <a:t>y</a:t>
              </a:r>
              <a:r>
                <a:rPr lang="en-US" sz="1100" b="1" dirty="0" smtClean="0">
                  <a:solidFill>
                    <a:schemeClr val="bg1"/>
                  </a:solidFill>
                  <a:latin typeface="Glacial Indifference" charset="0"/>
                  <a:ea typeface="Glacial Indifference" charset="0"/>
                  <a:cs typeface="Glacial Indifference" charset="0"/>
                  <a:sym typeface="Montserrat"/>
                </a:rPr>
                <a:t>ou use</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3" name="Rectangle 22"/>
            <p:cNvSpPr/>
            <p:nvPr/>
          </p:nvSpPr>
          <p:spPr bwMode="ltGray">
            <a:xfrm>
              <a:off x="538268" y="2115599"/>
              <a:ext cx="358613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Access to a nation-wide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network </a:t>
              </a:r>
              <a:r>
                <a:rPr lang="en-US" sz="1100" b="1" dirty="0">
                  <a:solidFill>
                    <a:schemeClr val="bg1"/>
                  </a:solidFill>
                  <a:latin typeface="Glacial Indifference" charset="0"/>
                  <a:ea typeface="Glacial Indifference" charset="0"/>
                  <a:cs typeface="Glacial Indifference" charset="0"/>
                  <a:sym typeface="Montserrat"/>
                </a:rPr>
                <a:t>of facilities</a:t>
              </a:r>
            </a:p>
            <a:p>
              <a:pP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4" name="Rectangle 23"/>
            <p:cNvSpPr/>
            <p:nvPr/>
          </p:nvSpPr>
          <p:spPr bwMode="ltGray">
            <a:xfrm>
              <a:off x="6462436" y="5977640"/>
              <a:ext cx="366422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Organic cross promotion and marketing</a:t>
              </a: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5" name="Rectangle 24"/>
            <p:cNvSpPr/>
            <p:nvPr/>
          </p:nvSpPr>
          <p:spPr bwMode="ltGray">
            <a:xfrm>
              <a:off x="7230825" y="5075491"/>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foot traffic</a:t>
              </a:r>
            </a:p>
          </p:txBody>
        </p:sp>
        <p:sp>
          <p:nvSpPr>
            <p:cNvPr id="26" name="Rectangle 25"/>
            <p:cNvSpPr/>
            <p:nvPr/>
          </p:nvSpPr>
          <p:spPr bwMode="ltGray">
            <a:xfrm>
              <a:off x="7230825" y="4078300"/>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Membership upticks</a:t>
              </a:r>
            </a:p>
          </p:txBody>
        </p:sp>
        <p:sp>
          <p:nvSpPr>
            <p:cNvPr id="27" name="Rectangle 26"/>
            <p:cNvSpPr/>
            <p:nvPr/>
          </p:nvSpPr>
          <p:spPr bwMode="ltGray">
            <a:xfrm>
              <a:off x="7230825" y="3049428"/>
              <a:ext cx="2895838" cy="673301"/>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New prospective </a:t>
              </a:r>
              <a:r>
                <a:rPr lang="en-US" sz="1100" b="1" dirty="0" err="1">
                  <a:solidFill>
                    <a:schemeClr val="bg1"/>
                  </a:solidFill>
                  <a:latin typeface="Glacial Indifference" charset="0"/>
                  <a:ea typeface="Glacial Indifference" charset="0"/>
                  <a:cs typeface="Glacial Indifference" charset="0"/>
                  <a:sym typeface="Montserrat"/>
                </a:rPr>
                <a:t>touchpoints</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8" name="Rectangle 27"/>
            <p:cNvSpPr/>
            <p:nvPr/>
          </p:nvSpPr>
          <p:spPr bwMode="ltGray">
            <a:xfrm>
              <a:off x="6540526" y="2115599"/>
              <a:ext cx="358613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revenue (via rev share</a:t>
              </a:r>
              <a:r>
                <a:rPr lang="en-US" sz="1100" b="1" dirty="0" smtClean="0">
                  <a:solidFill>
                    <a:schemeClr val="bg1"/>
                  </a:solidFill>
                  <a:latin typeface="Glacial Indifference" charset="0"/>
                  <a:ea typeface="Glacial Indifference" charset="0"/>
                  <a:cs typeface="Glacial Indifference" charset="0"/>
                  <a:sym typeface="Montserrat"/>
                </a:rPr>
                <a:t>)</a:t>
              </a:r>
              <a:endParaRPr lang="en-US" sz="1100" b="1" dirty="0">
                <a:solidFill>
                  <a:schemeClr val="bg1"/>
                </a:solidFill>
                <a:latin typeface="Glacial Indifference" charset="0"/>
                <a:ea typeface="Glacial Indifference" charset="0"/>
                <a:cs typeface="Glacial Indifference" charset="0"/>
                <a:sym typeface="Montserrat"/>
              </a:endParaRPr>
            </a:p>
          </p:txBody>
        </p:sp>
      </p:gr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8</a:t>
            </a:fld>
            <a:endParaRPr dirty="0">
              <a:solidFill>
                <a:schemeClr val="bg1"/>
              </a:solidFill>
              <a:latin typeface="Montserrat" charset="0"/>
              <a:ea typeface="Montserrat" charset="0"/>
              <a:cs typeface="Montserrat" charset="0"/>
            </a:endParaRPr>
          </a:p>
        </p:txBody>
      </p:sp>
      <p:grpSp>
        <p:nvGrpSpPr>
          <p:cNvPr id="5" name="Group 4"/>
          <p:cNvGrpSpPr/>
          <p:nvPr/>
        </p:nvGrpSpPr>
        <p:grpSpPr>
          <a:xfrm>
            <a:off x="2789343" y="1574280"/>
            <a:ext cx="1329914" cy="3149584"/>
            <a:chOff x="2789343" y="1419902"/>
            <a:chExt cx="1329914" cy="3149584"/>
          </a:xfrm>
        </p:grpSpPr>
        <p:sp>
          <p:nvSpPr>
            <p:cNvPr id="4" name="Oval 3"/>
            <p:cNvSpPr/>
            <p:nvPr/>
          </p:nvSpPr>
          <p:spPr>
            <a:xfrm>
              <a:off x="3527586" y="3978727"/>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989321" y="3439459"/>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2789343" y="2711948"/>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2989321" y="1971324"/>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497826" y="1419902"/>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p:cNvGrpSpPr/>
          <p:nvPr/>
        </p:nvGrpSpPr>
        <p:grpSpPr>
          <a:xfrm flipH="1">
            <a:off x="4992266" y="1581062"/>
            <a:ext cx="1343025" cy="3138485"/>
            <a:chOff x="2798799" y="1431001"/>
            <a:chExt cx="1343025" cy="3138485"/>
          </a:xfrm>
        </p:grpSpPr>
        <p:sp>
          <p:nvSpPr>
            <p:cNvPr id="37" name="Oval 36"/>
            <p:cNvSpPr/>
            <p:nvPr/>
          </p:nvSpPr>
          <p:spPr>
            <a:xfrm>
              <a:off x="3527586" y="3978727"/>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2989321" y="3439459"/>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2798799" y="269024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2989321" y="1971324"/>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3550153" y="143100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Shape 416"/>
          <p:cNvSpPr txBox="1"/>
          <p:nvPr/>
        </p:nvSpPr>
        <p:spPr>
          <a:xfrm>
            <a:off x="466344" y="410724"/>
            <a:ext cx="7871012" cy="569662"/>
          </a:xfrm>
          <a:prstGeom prst="rect">
            <a:avLst/>
          </a:prstGeom>
          <a:noFill/>
          <a:ln>
            <a:noFill/>
          </a:ln>
        </p:spPr>
        <p:txBody>
          <a:bodyPr spcFirstLastPara="1" wrap="square" lIns="91425" tIns="45720" rIns="91425" bIns="45720" anchor="t" anchorCtr="0">
            <a:noAutofit/>
          </a:bodyPr>
          <a:lstStyle/>
          <a:p>
            <a:pPr lvl="0"/>
            <a:r>
              <a:rPr lang="en-US" sz="2400" b="1" dirty="0" smtClean="0">
                <a:solidFill>
                  <a:schemeClr val="bg1"/>
                </a:solidFill>
                <a:latin typeface="Glacial Indifference" charset="0"/>
                <a:ea typeface="Glacial Indifference" charset="0"/>
                <a:cs typeface="Glacial Indifference" charset="0"/>
                <a:sym typeface="Montserrat Medium"/>
              </a:rPr>
              <a:t>FLEXIT provides solutions to both</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6" name="Rectangle 5"/>
          <p:cNvSpPr/>
          <p:nvPr/>
        </p:nvSpPr>
        <p:spPr>
          <a:xfrm>
            <a:off x="1820441" y="1141336"/>
            <a:ext cx="1396537"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Consumers</a:t>
            </a:r>
            <a:endParaRPr lang="en-US" sz="1800" dirty="0">
              <a:latin typeface="Glacial Indifference" charset="0"/>
              <a:ea typeface="Glacial Indifference" charset="0"/>
              <a:cs typeface="Glacial Indifference" charset="0"/>
            </a:endParaRPr>
          </a:p>
        </p:txBody>
      </p:sp>
      <p:sp>
        <p:nvSpPr>
          <p:cNvPr id="48" name="Rectangle 47"/>
          <p:cNvSpPr/>
          <p:nvPr/>
        </p:nvSpPr>
        <p:spPr>
          <a:xfrm>
            <a:off x="6197555" y="1141336"/>
            <a:ext cx="792205"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Gyms</a:t>
            </a:r>
            <a:endParaRPr lang="en-US" sz="1800" dirty="0">
              <a:latin typeface="Glacial Indifference" charset="0"/>
              <a:ea typeface="Glacial Indifference" charset="0"/>
              <a:cs typeface="Glacial Indifference" charset="0"/>
            </a:endParaRPr>
          </a:p>
        </p:txBody>
      </p:sp>
      <p:pic>
        <p:nvPicPr>
          <p:cNvPr id="53" name="Shape 185"/>
          <p:cNvPicPr preferRelativeResize="0"/>
          <p:nvPr/>
        </p:nvPicPr>
        <p:blipFill rotWithShape="1">
          <a:blip r:embed="rId8">
            <a:alphaModFix/>
            <a:duotone>
              <a:prstClr val="black"/>
              <a:schemeClr val="accent5">
                <a:tint val="45000"/>
                <a:satMod val="400000"/>
              </a:schemeClr>
            </a:duotone>
          </a:blip>
          <a:srcRect b="14900"/>
          <a:stretch/>
        </p:blipFill>
        <p:spPr>
          <a:xfrm>
            <a:off x="4656891" y="-2590818"/>
            <a:ext cx="1043286" cy="887793"/>
          </a:xfrm>
          <a:prstGeom prst="rect">
            <a:avLst/>
          </a:prstGeom>
          <a:noFill/>
          <a:ln>
            <a:noFill/>
          </a:ln>
        </p:spPr>
      </p:pic>
      <p:pic>
        <p:nvPicPr>
          <p:cNvPr id="54" name="Shape 188"/>
          <p:cNvPicPr preferRelativeResize="0"/>
          <p:nvPr/>
        </p:nvPicPr>
        <p:blipFill rotWithShape="1">
          <a:blip r:embed="rId9">
            <a:alphaModFix/>
            <a:duotone>
              <a:prstClr val="black"/>
              <a:schemeClr val="accent5">
                <a:tint val="45000"/>
                <a:satMod val="400000"/>
              </a:schemeClr>
            </a:duotone>
          </a:blip>
          <a:srcRect b="14900"/>
          <a:stretch/>
        </p:blipFill>
        <p:spPr>
          <a:xfrm>
            <a:off x="7585821" y="-2988085"/>
            <a:ext cx="1777886" cy="1512906"/>
          </a:xfrm>
          <a:prstGeom prst="rect">
            <a:avLst/>
          </a:prstGeom>
          <a:noFill/>
          <a:ln>
            <a:noFill/>
          </a:ln>
        </p:spPr>
      </p:pic>
      <p:pic>
        <p:nvPicPr>
          <p:cNvPr id="55" name="Shape 187"/>
          <p:cNvPicPr preferRelativeResize="0"/>
          <p:nvPr/>
        </p:nvPicPr>
        <p:blipFill rotWithShape="1">
          <a:blip r:embed="rId10">
            <a:alphaModFix/>
            <a:duotone>
              <a:prstClr val="black"/>
              <a:schemeClr val="accent5">
                <a:tint val="45000"/>
                <a:satMod val="400000"/>
              </a:schemeClr>
            </a:duotone>
          </a:blip>
          <a:srcRect b="14900"/>
          <a:stretch/>
        </p:blipFill>
        <p:spPr>
          <a:xfrm>
            <a:off x="6144769" y="-1099017"/>
            <a:ext cx="1056688" cy="899197"/>
          </a:xfrm>
          <a:prstGeom prst="rect">
            <a:avLst/>
          </a:prstGeom>
          <a:noFill/>
          <a:ln>
            <a:noFill/>
          </a:ln>
        </p:spPr>
      </p:pic>
      <p:pic>
        <p:nvPicPr>
          <p:cNvPr id="57" name="Shape 186"/>
          <p:cNvPicPr preferRelativeResize="0"/>
          <p:nvPr/>
        </p:nvPicPr>
        <p:blipFill rotWithShape="1">
          <a:blip r:embed="rId11">
            <a:alphaModFix/>
            <a:duotone>
              <a:prstClr val="black"/>
              <a:schemeClr val="accent5">
                <a:tint val="45000"/>
                <a:satMod val="400000"/>
              </a:schemeClr>
            </a:duotone>
          </a:blip>
          <a:srcRect b="14900"/>
          <a:stretch/>
        </p:blipFill>
        <p:spPr>
          <a:xfrm>
            <a:off x="6111395" y="-4197293"/>
            <a:ext cx="1235751" cy="1051573"/>
          </a:xfrm>
          <a:prstGeom prst="rect">
            <a:avLst/>
          </a:prstGeom>
          <a:noFill/>
          <a:ln>
            <a:noFill/>
          </a:ln>
        </p:spPr>
      </p:pic>
      <p:pic>
        <p:nvPicPr>
          <p:cNvPr id="58" name="Shape 123"/>
          <p:cNvPicPr preferRelativeResize="0"/>
          <p:nvPr/>
        </p:nvPicPr>
        <p:blipFill rotWithShape="1">
          <a:blip r:embed="rId12">
            <a:alphaModFix/>
            <a:duotone>
              <a:prstClr val="black"/>
              <a:schemeClr val="accent5">
                <a:tint val="45000"/>
                <a:satMod val="400000"/>
              </a:schemeClr>
            </a:duotone>
          </a:blip>
          <a:srcRect b="14900"/>
          <a:stretch/>
        </p:blipFill>
        <p:spPr>
          <a:xfrm>
            <a:off x="-1594282" y="-1391591"/>
            <a:ext cx="1139098" cy="969325"/>
          </a:xfrm>
          <a:prstGeom prst="rect">
            <a:avLst/>
          </a:prstGeom>
          <a:noFill/>
          <a:ln>
            <a:noFill/>
          </a:ln>
        </p:spPr>
      </p:pic>
      <p:pic>
        <p:nvPicPr>
          <p:cNvPr id="59" name="Shape 124"/>
          <p:cNvPicPr preferRelativeResize="0"/>
          <p:nvPr/>
        </p:nvPicPr>
        <p:blipFill rotWithShape="1">
          <a:blip r:embed="rId13">
            <a:duotone>
              <a:schemeClr val="accent5">
                <a:shade val="45000"/>
                <a:satMod val="135000"/>
              </a:schemeClr>
              <a:prstClr val="white"/>
            </a:duotone>
            <a:lum bright="50000"/>
            <a:alphaModFix/>
          </a:blip>
          <a:srcRect b="14900"/>
          <a:stretch/>
        </p:blipFill>
        <p:spPr>
          <a:xfrm>
            <a:off x="-665891" y="-4613055"/>
            <a:ext cx="1139098" cy="969325"/>
          </a:xfrm>
          <a:prstGeom prst="rect">
            <a:avLst/>
          </a:prstGeom>
          <a:noFill/>
          <a:ln>
            <a:noFill/>
          </a:ln>
        </p:spPr>
      </p:pic>
      <p:pic>
        <p:nvPicPr>
          <p:cNvPr id="60" name="Shape 126"/>
          <p:cNvPicPr preferRelativeResize="0"/>
          <p:nvPr/>
        </p:nvPicPr>
        <p:blipFill rotWithShape="1">
          <a:blip r:embed="rId14">
            <a:duotone>
              <a:schemeClr val="accent5">
                <a:shade val="45000"/>
                <a:satMod val="135000"/>
              </a:schemeClr>
              <a:prstClr val="white"/>
            </a:duotone>
            <a:alphaModFix/>
            <a:lum bright="55000"/>
          </a:blip>
          <a:srcRect b="14900"/>
          <a:stretch/>
        </p:blipFill>
        <p:spPr>
          <a:xfrm>
            <a:off x="954791" y="-3465778"/>
            <a:ext cx="1139098" cy="969325"/>
          </a:xfrm>
          <a:prstGeom prst="rect">
            <a:avLst/>
          </a:prstGeom>
          <a:noFill/>
          <a:ln>
            <a:noFill/>
          </a:ln>
        </p:spPr>
      </p:pic>
      <p:pic>
        <p:nvPicPr>
          <p:cNvPr id="61" name="Shape 127"/>
          <p:cNvPicPr preferRelativeResize="0"/>
          <p:nvPr/>
        </p:nvPicPr>
        <p:blipFill rotWithShape="1">
          <a:blip r:embed="rId15">
            <a:alphaModFix amt="91000"/>
            <a:duotone>
              <a:prstClr val="black"/>
              <a:schemeClr val="accent5">
                <a:tint val="45000"/>
                <a:satMod val="400000"/>
              </a:schemeClr>
            </a:duotone>
          </a:blip>
          <a:srcRect b="14900"/>
          <a:stretch/>
        </p:blipFill>
        <p:spPr>
          <a:xfrm>
            <a:off x="216712" y="-1459119"/>
            <a:ext cx="1139098" cy="969325"/>
          </a:xfrm>
          <a:prstGeom prst="rect">
            <a:avLst/>
          </a:prstGeom>
          <a:noFill/>
          <a:ln>
            <a:noFill/>
          </a:ln>
        </p:spPr>
      </p:pic>
      <p:pic>
        <p:nvPicPr>
          <p:cNvPr id="62" name="Shape 125"/>
          <p:cNvPicPr preferRelativeResize="0"/>
          <p:nvPr/>
        </p:nvPicPr>
        <p:blipFill rotWithShape="1">
          <a:blip r:embed="rId16">
            <a:duotone>
              <a:schemeClr val="accent5">
                <a:shade val="45000"/>
                <a:satMod val="135000"/>
              </a:schemeClr>
              <a:prstClr val="white"/>
            </a:duotone>
            <a:lum bright="54000"/>
            <a:alphaModFix/>
          </a:blip>
          <a:srcRect b="17389"/>
          <a:stretch/>
        </p:blipFill>
        <p:spPr>
          <a:xfrm>
            <a:off x="-2370557" y="-3181155"/>
            <a:ext cx="1139098" cy="941013"/>
          </a:xfrm>
          <a:prstGeom prst="rect">
            <a:avLst/>
          </a:prstGeom>
          <a:noFill/>
          <a:ln>
            <a:noFill/>
          </a:ln>
        </p:spPr>
      </p:pic>
      <p:sp>
        <p:nvSpPr>
          <p:cNvPr id="63" name="TextBox 6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65" name="Picture 64"/>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23421" y="3063772"/>
            <a:ext cx="1525701" cy="170787"/>
          </a:xfrm>
          <a:prstGeom prst="rect">
            <a:avLst/>
          </a:prstGeom>
        </p:spPr>
      </p:pic>
    </p:spTree>
    <p:extLst>
      <p:ext uri="{BB962C8B-B14F-4D97-AF65-F5344CB8AC3E}">
        <p14:creationId xmlns:p14="http://schemas.microsoft.com/office/powerpoint/2010/main" val="1589505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graphicFrame>
        <p:nvGraphicFramePr>
          <p:cNvPr id="23" name="Diagram 22"/>
          <p:cNvGraphicFramePr/>
          <p:nvPr>
            <p:extLst>
              <p:ext uri="{D42A27DB-BD31-4B8C-83A1-F6EECF244321}">
                <p14:modId xmlns:p14="http://schemas.microsoft.com/office/powerpoint/2010/main" val="1314210141"/>
              </p:ext>
            </p:extLst>
          </p:nvPr>
        </p:nvGraphicFramePr>
        <p:xfrm>
          <a:off x="3858633" y="1231047"/>
          <a:ext cx="5383718" cy="36147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9</a:t>
            </a:fld>
            <a:endParaRPr dirty="0">
              <a:solidFill>
                <a:schemeClr val="bg1"/>
              </a:solidFill>
              <a:latin typeface="Montserrat"/>
              <a:ea typeface="Montserrat"/>
              <a:cs typeface="Montserrat"/>
              <a:sym typeface="Montserrat"/>
            </a:endParaRPr>
          </a:p>
        </p:txBody>
      </p:sp>
      <p:sp>
        <p:nvSpPr>
          <p:cNvPr id="246" name="Shape 246"/>
          <p:cNvSpPr txBox="1"/>
          <p:nvPr/>
        </p:nvSpPr>
        <p:spPr>
          <a:xfrm>
            <a:off x="533399" y="2061380"/>
            <a:ext cx="3325233" cy="535481"/>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chemeClr val="bg1"/>
                </a:solidFill>
                <a:latin typeface="Glacial Indifference" charset="0"/>
                <a:ea typeface="Glacial Indifference" charset="0"/>
                <a:cs typeface="Glacial Indifference" charset="0"/>
                <a:sym typeface="Montserrat Light"/>
              </a:rPr>
              <a:t>Serviceable </a:t>
            </a:r>
            <a:r>
              <a:rPr lang="en-US" dirty="0" smtClean="0">
                <a:solidFill>
                  <a:schemeClr val="bg1"/>
                </a:solidFill>
                <a:latin typeface="Glacial Indifference" charset="0"/>
                <a:ea typeface="Glacial Indifference" charset="0"/>
                <a:cs typeface="Glacial Indifference" charset="0"/>
                <a:sym typeface="Montserrat Light"/>
              </a:rPr>
              <a:t>address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smtClean="0">
                <a:solidFill>
                  <a:schemeClr val="bg1"/>
                </a:solidFill>
                <a:latin typeface="Glacial Indifference" charset="0"/>
                <a:ea typeface="Glacial Indifference" charset="0"/>
                <a:cs typeface="Glacial Indifference" charset="0"/>
                <a:sym typeface="Montserrat Light"/>
              </a:rPr>
              <a:t> (SAM)</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chemeClr val="bg1"/>
              </a:solidFill>
              <a:latin typeface="Gill Sans Light" charset="0"/>
              <a:ea typeface="Gill Sans Light" charset="0"/>
              <a:cs typeface="Gill Sans Light" charset="0"/>
              <a:sym typeface="Montserrat Light"/>
            </a:endParaRPr>
          </a:p>
        </p:txBody>
      </p:sp>
      <p:sp>
        <p:nvSpPr>
          <p:cNvPr id="247" name="Shape 247"/>
          <p:cNvSpPr txBox="1"/>
          <p:nvPr/>
        </p:nvSpPr>
        <p:spPr>
          <a:xfrm>
            <a:off x="533400" y="1429414"/>
            <a:ext cx="2567287" cy="631965"/>
          </a:xfrm>
          <a:prstGeom prst="rect">
            <a:avLst/>
          </a:prstGeom>
          <a:noFill/>
          <a:ln>
            <a:noFill/>
          </a:ln>
        </p:spPr>
        <p:txBody>
          <a:bodyPr spcFirstLastPara="1" wrap="square" lIns="91425" tIns="91425" rIns="91425" bIns="91425" anchor="t" anchorCtr="0">
            <a:noAutofit/>
          </a:bodyPr>
          <a:lstStyle/>
          <a:p>
            <a:r>
              <a:rPr lang="en" dirty="0" smtClean="0">
                <a:solidFill>
                  <a:schemeClr val="bg1"/>
                </a:solidFill>
                <a:latin typeface="Glacial Indifference" charset="0"/>
                <a:ea typeface="Glacial Indifference" charset="0"/>
                <a:cs typeface="Glacial Indifference" charset="0"/>
                <a:sym typeface="Montserrat Light"/>
              </a:rPr>
              <a:t>Total </a:t>
            </a:r>
            <a:r>
              <a:rPr lang="en" dirty="0">
                <a:solidFill>
                  <a:schemeClr val="bg1"/>
                </a:solidFill>
                <a:latin typeface="Glacial Indifference" charset="0"/>
                <a:ea typeface="Glacial Indifference" charset="0"/>
                <a:cs typeface="Glacial Indifference" charset="0"/>
                <a:sym typeface="Montserrat Light"/>
              </a:rPr>
              <a:t>avail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a:solidFill>
                  <a:schemeClr val="bg1"/>
                </a:solidFill>
                <a:latin typeface="Glacial Indifference" charset="0"/>
                <a:ea typeface="Glacial Indifference" charset="0"/>
                <a:cs typeface="Glacial Indifference" charset="0"/>
                <a:sym typeface="Montserrat Light"/>
              </a:rPr>
              <a:t> (TAM</a:t>
            </a:r>
            <a:r>
              <a:rPr lang="en-US" dirty="0" smtClean="0">
                <a:solidFill>
                  <a:schemeClr val="bg1"/>
                </a:solidFill>
                <a:latin typeface="Glacial Indifference" charset="0"/>
                <a:ea typeface="Glacial Indifference" charset="0"/>
                <a:cs typeface="Glacial Indifference" charset="0"/>
                <a:sym typeface="Montserrat Light"/>
              </a:rPr>
              <a:t>)</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t>
            </a:r>
          </a:p>
          <a:p>
            <a:pPr marL="0" lvl="0" indent="0"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US Population 18-65</a:t>
            </a:r>
            <a:endParaRPr sz="2000" b="1" dirty="0">
              <a:solidFill>
                <a:schemeClr val="bg1"/>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69076" y="409700"/>
            <a:ext cx="6251170"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sym typeface="Montserrat Medium"/>
              </a:rPr>
              <a:t>FLEXIT </a:t>
            </a:r>
            <a:r>
              <a:rPr lang="en-US" sz="2400" b="1" dirty="0" smtClean="0">
                <a:solidFill>
                  <a:schemeClr val="bg1"/>
                </a:solidFill>
                <a:latin typeface="Glacial Indifference" charset="0"/>
                <a:ea typeface="Glacial Indifference" charset="0"/>
                <a:cs typeface="Glacial Indifference" charset="0"/>
              </a:rPr>
              <a:t>provides technology to scale for a growing market </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solidFill>
                  <a:schemeClr val="bg1"/>
                </a:solidFill>
                <a:latin typeface="Montserrat" charset="0"/>
                <a:ea typeface="Montserrat" charset="0"/>
                <a:cs typeface="Montserrat" charset="0"/>
              </a:rPr>
              <a:t/>
            </a:r>
            <a:br>
              <a:rPr lang="en-US" sz="800" dirty="0">
                <a:solidFill>
                  <a:schemeClr val="bg1"/>
                </a:solidFill>
                <a:latin typeface="Montserrat" charset="0"/>
                <a:ea typeface="Montserrat" charset="0"/>
                <a:cs typeface="Montserrat" charset="0"/>
              </a:rPr>
            </a:br>
            <a:endParaRPr lang="en-US" sz="800" dirty="0">
              <a:solidFill>
                <a:schemeClr val="bg1"/>
              </a:solidFill>
              <a:latin typeface="Montserrat" charset="0"/>
              <a:ea typeface="Montserrat" charset="0"/>
              <a:cs typeface="Montserrat" charset="0"/>
            </a:endParaRPr>
          </a:p>
        </p:txBody>
      </p:sp>
      <p:sp>
        <p:nvSpPr>
          <p:cNvPr id="27" name="Rectangle 26"/>
          <p:cNvSpPr/>
          <p:nvPr/>
        </p:nvSpPr>
        <p:spPr>
          <a:xfrm>
            <a:off x="533400" y="2737727"/>
            <a:ext cx="3325233" cy="523220"/>
          </a:xfrm>
          <a:prstGeom prst="rect">
            <a:avLst/>
          </a:prstGeom>
        </p:spPr>
        <p:txBody>
          <a:bodyPr wrap="square">
            <a:spAutoFit/>
          </a:bodyPr>
          <a:lstStyle/>
          <a:p>
            <a:r>
              <a:rPr lang="en-US" dirty="0" smtClean="0">
                <a:solidFill>
                  <a:schemeClr val="bg1"/>
                </a:solidFill>
                <a:latin typeface="Glacial Indifference" charset="0"/>
                <a:ea typeface="Glacial Indifference" charset="0"/>
                <a:cs typeface="Glacial Indifference" charset="0"/>
                <a:sym typeface="Montserrat Light"/>
              </a:rPr>
              <a:t>Serviceable obtainable market (</a:t>
            </a:r>
            <a:r>
              <a:rPr lang="en-US" dirty="0">
                <a:solidFill>
                  <a:schemeClr val="bg1"/>
                </a:solidFill>
                <a:latin typeface="Glacial Indifference" charset="0"/>
                <a:ea typeface="Glacial Indifference" charset="0"/>
                <a:cs typeface="Glacial Indifference" charset="0"/>
                <a:sym typeface="Montserrat Light"/>
              </a:rPr>
              <a:t>SOM</a:t>
            </a:r>
            <a:r>
              <a:rPr lang="en-US" dirty="0" smtClean="0">
                <a:solidFill>
                  <a:schemeClr val="bg1"/>
                </a:solidFill>
                <a:latin typeface="Glacial Indifference" charset="0"/>
                <a:ea typeface="Glacial Indifference" charset="0"/>
                <a:cs typeface="Glacial Indifference" charset="0"/>
                <a:sym typeface="Montserrat Light"/>
              </a:rPr>
              <a:t>):</a:t>
            </a:r>
          </a:p>
          <a:p>
            <a:pPr lvl="0"/>
            <a:r>
              <a:rPr lang="en-US" dirty="0" smtClean="0">
                <a:solidFill>
                  <a:schemeClr val="bg1"/>
                </a:solidFill>
                <a:latin typeface="Glacial Indifference" charset="0"/>
                <a:ea typeface="Glacial Indifference" charset="0"/>
                <a:cs typeface="Glacial Indifference" charset="0"/>
                <a:sym typeface="Montserrat Light"/>
              </a:rPr>
              <a:t>Realistic reach</a:t>
            </a:r>
            <a:endParaRPr lang="en-US" dirty="0">
              <a:solidFill>
                <a:schemeClr val="bg1"/>
              </a:solidFill>
              <a:latin typeface="Glacial Indifference" charset="0"/>
              <a:ea typeface="Glacial Indifference" charset="0"/>
              <a:cs typeface="Glacial Indifference" charset="0"/>
              <a:sym typeface="Montserrat Light"/>
            </a:endParaRPr>
          </a:p>
        </p:txBody>
      </p:sp>
      <p:cxnSp>
        <p:nvCxnSpPr>
          <p:cNvPr id="6" name="Straight Connector 5"/>
          <p:cNvCxnSpPr/>
          <p:nvPr/>
        </p:nvCxnSpPr>
        <p:spPr>
          <a:xfrm>
            <a:off x="3848100" y="3118757"/>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858632" y="2404872"/>
            <a:ext cx="2194561"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848100" y="1695450"/>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6236362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722</TotalTime>
  <Words>2456</Words>
  <Application>Microsoft Macintosh PowerPoint</Application>
  <PresentationFormat>On-screen Show (16:9)</PresentationFormat>
  <Paragraphs>525</Paragraphs>
  <Slides>17</Slides>
  <Notes>1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1" baseType="lpstr">
      <vt:lpstr>Alternate Gothic No3 D</vt:lpstr>
      <vt:lpstr>Avenir Book</vt:lpstr>
      <vt:lpstr>Gill Sans Light</vt:lpstr>
      <vt:lpstr>Glacial Indifference</vt:lpstr>
      <vt:lpstr>Montserrat</vt:lpstr>
      <vt:lpstr>Montserrat ExtraLight</vt:lpstr>
      <vt:lpstr>Montserrat Light</vt:lpstr>
      <vt:lpstr>Montserrat Medium</vt:lpstr>
      <vt:lpstr>Montserrat SemiBold</vt:lpstr>
      <vt:lpstr>MuseoSans</vt:lpstr>
      <vt:lpstr>Wingdings</vt:lpstr>
      <vt:lpstr>Arial</vt:lpstr>
      <vt:lpstr>Simple Light</vt:lpstr>
      <vt:lpstr>think-cell Slide</vt:lpstr>
      <vt:lpstr>WHEREVER, WHENEV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OUT WHEREVER, WHENEVE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ver, whenever.</dc:title>
  <dc:creator>Kevin Batista</dc:creator>
  <cp:lastModifiedBy>Jacob Harry Podell</cp:lastModifiedBy>
  <cp:revision>341</cp:revision>
  <cp:lastPrinted>2018-04-16T16:44:06Z</cp:lastPrinted>
  <dcterms:modified xsi:type="dcterms:W3CDTF">2018-04-16T18:27:30Z</dcterms:modified>
</cp:coreProperties>
</file>